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5"/>
  </p:notesMasterIdLst>
  <p:handoutMasterIdLst>
    <p:handoutMasterId r:id="rId16"/>
  </p:handoutMasterIdLst>
  <p:sldIdLst>
    <p:sldId id="341" r:id="rId5"/>
    <p:sldId id="765" r:id="rId6"/>
    <p:sldId id="779" r:id="rId7"/>
    <p:sldId id="2147483530" r:id="rId8"/>
    <p:sldId id="2147483529" r:id="rId9"/>
    <p:sldId id="2147483525" r:id="rId10"/>
    <p:sldId id="2147483538" r:id="rId11"/>
    <p:sldId id="2147483534" r:id="rId12"/>
    <p:sldId id="2147483537" r:id="rId13"/>
    <p:sldId id="2147483539" r:id="rId14"/>
  </p:sldIdLst>
  <p:sldSz cx="12192000" cy="6858000"/>
  <p:notesSz cx="7315200" cy="96012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B3B1EB6-6E61-4922-94D8-283A0294B1B8}">
          <p14:sldIdLst>
            <p14:sldId id="341"/>
            <p14:sldId id="765"/>
            <p14:sldId id="779"/>
            <p14:sldId id="2147483530"/>
            <p14:sldId id="2147483529"/>
            <p14:sldId id="2147483525"/>
            <p14:sldId id="2147483538"/>
            <p14:sldId id="2147483534"/>
            <p14:sldId id="2147483537"/>
            <p14:sldId id="214748353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9B77413-21EF-8125-AADB-C305CBD67846}" name="Towler, Jalin" initials="TJ" userId="S::jtowler@deloitte.com::fef0e2bf-8936-411a-b5c0-372ba3947482" providerId="AD"/>
  <p188:author id="{5B4D1D21-6890-3E4F-F336-2611F7B6722C}" name="Schulfer, Gretchen" initials="SG" userId="S::gschulfer@deloitte.com::c352446a-8589-4ce1-8481-211528268116" providerId="AD"/>
  <p188:author id="{374F8725-5733-FA91-E19D-586212839A94}" name="Ben Wyatt " initials="B. Wyatt " userId="Ben Wyatt " providerId="None"/>
  <p188:author id="{A5C5E52C-B101-1B8F-D89A-12A56D135BAE}" name="Koudelka, Matt" initials="KM" userId="S::mkoudelka@deloitte.com::67237109-5853-4711-8261-4d29215914f4" providerId="AD"/>
  <p188:author id="{7E2B248F-FE46-ABB3-08EA-DC69CA5BE649}" name="Fina, Eleanor" initials="EF" userId="S::elfina@deloitte.com::07424c2a-04db-42bb-81cb-cc1212e76878" providerId="AD"/>
  <p188:author id="{248CC4A5-8F31-38F8-5C01-2930DD764D20}" name="Brown, Peter" initials="BP" userId="S::petebrown@deloitte.com::1fdb1ee8-8e96-4b5f-be45-20a3ddd4ef34" providerId="AD"/>
  <p188:author id="{9446EBA7-5871-0C55-4DF8-F24FE446EE01}" name="Pereira, Ehrlich" initials="EP" userId="S::ehrlichpereira@deloitte.com::2a12278f-896d-490e-8a7f-20e9c9b7238f" providerId="AD"/>
  <p188:author id="{309E24AB-6AC5-1D90-FA09-FC28611A508D}" name="Black, George" initials="BG" userId="S::geblack@deloitte.com::37d23977-0548-4955-bd9c-d437d318186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CB0"/>
    <a:srgbClr val="0097A9"/>
    <a:srgbClr val="86BC25"/>
    <a:srgbClr val="26890D"/>
    <a:srgbClr val="D0D0CE"/>
    <a:srgbClr val="000000"/>
    <a:srgbClr val="046A38"/>
    <a:srgbClr val="FFCD00"/>
    <a:srgbClr val="ED8B00"/>
    <a:srgbClr val="DB29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77056B-1D86-400C-8757-BB1DEF6EDFF0}" v="102" dt="2025-10-24T20:36:08.426"/>
    <p1510:client id="{160EE8F3-2140-421B-9487-147D2C1D1385}" v="3707" dt="2025-10-24T20:11:12.922"/>
    <p1510:client id="{161DF1A2-383C-4786-BB27-C8EF44BD5421}" v="109" dt="2025-10-24T07:25:59.615"/>
    <p1510:client id="{2E978230-D457-4CE9-9047-FEA6E23BDB15}" v="7602" dt="2025-10-24T18:44:20.030"/>
    <p1510:client id="{C1C0FC65-B641-4F94-8062-92A73CA092D2}" v="8257" dt="2025-10-23T20:25:03.2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udelka, Matt" userId="67237109-5853-4711-8261-4d29215914f4" providerId="ADAL" clId="{C1C0FC65-B641-4F94-8062-92A73CA092D2}"/>
    <pc:docChg chg="undo custSel addSld delSld modSld sldOrd modMainMaster addSection modSection">
      <pc:chgData name="Koudelka, Matt" userId="67237109-5853-4711-8261-4d29215914f4" providerId="ADAL" clId="{C1C0FC65-B641-4F94-8062-92A73CA092D2}" dt="2025-10-23T20:25:03.240" v="8681" actId="2711"/>
      <pc:docMkLst>
        <pc:docMk/>
      </pc:docMkLst>
      <pc:sldChg chg="modSp mod">
        <pc:chgData name="Koudelka, Matt" userId="67237109-5853-4711-8261-4d29215914f4" providerId="ADAL" clId="{C1C0FC65-B641-4F94-8062-92A73CA092D2}" dt="2025-10-16T01:21:29.077" v="260" actId="14100"/>
        <pc:sldMkLst>
          <pc:docMk/>
          <pc:sldMk cId="861957290" sldId="341"/>
        </pc:sldMkLst>
        <pc:spChg chg="mod">
          <ac:chgData name="Koudelka, Matt" userId="67237109-5853-4711-8261-4d29215914f4" providerId="ADAL" clId="{C1C0FC65-B641-4F94-8062-92A73CA092D2}" dt="2025-10-16T01:21:29.077" v="260" actId="14100"/>
          <ac:spMkLst>
            <pc:docMk/>
            <pc:sldMk cId="861957290" sldId="341"/>
            <ac:spMk id="13" creationId="{DE5B9CEA-5E73-4E22-8C75-E8D43059FFC7}"/>
          </ac:spMkLst>
        </pc:spChg>
        <pc:spChg chg="mod">
          <ac:chgData name="Koudelka, Matt" userId="67237109-5853-4711-8261-4d29215914f4" providerId="ADAL" clId="{C1C0FC65-B641-4F94-8062-92A73CA092D2}" dt="2025-10-16T01:20:26.871" v="219" actId="20577"/>
          <ac:spMkLst>
            <pc:docMk/>
            <pc:sldMk cId="861957290" sldId="341"/>
            <ac:spMk id="15" creationId="{E22672E0-7693-4B5C-8331-DE3495FB6BB0}"/>
          </ac:spMkLst>
        </pc:spChg>
      </pc:sldChg>
      <pc:sldChg chg="addSp delSp modSp del mod ord">
        <pc:chgData name="Koudelka, Matt" userId="67237109-5853-4711-8261-4d29215914f4" providerId="ADAL" clId="{C1C0FC65-B641-4F94-8062-92A73CA092D2}" dt="2025-10-23T20:01:05.073" v="8116" actId="47"/>
        <pc:sldMkLst>
          <pc:docMk/>
          <pc:sldMk cId="2597423882" sldId="350"/>
        </pc:sldMkLst>
        <pc:spChg chg="add del mod">
          <ac:chgData name="Koudelka, Matt" userId="67237109-5853-4711-8261-4d29215914f4" providerId="ADAL" clId="{C1C0FC65-B641-4F94-8062-92A73CA092D2}" dt="2025-10-23T17:18:06.997" v="7372" actId="478"/>
          <ac:spMkLst>
            <pc:docMk/>
            <pc:sldMk cId="2597423882" sldId="350"/>
            <ac:spMk id="7" creationId="{2B1D9E43-8074-CD69-0697-DCA90B36AB3D}"/>
          </ac:spMkLst>
        </pc:spChg>
        <pc:spChg chg="del mod">
          <ac:chgData name="Koudelka, Matt" userId="67237109-5853-4711-8261-4d29215914f4" providerId="ADAL" clId="{C1C0FC65-B641-4F94-8062-92A73CA092D2}" dt="2025-10-23T17:18:05.858" v="7371" actId="478"/>
          <ac:spMkLst>
            <pc:docMk/>
            <pc:sldMk cId="2597423882" sldId="350"/>
            <ac:spMk id="19" creationId="{C54465B1-174D-9059-C331-BD293294B5D6}"/>
          </ac:spMkLst>
        </pc:spChg>
      </pc:sldChg>
      <pc:sldChg chg="addSp delSp modSp mod ord modShow">
        <pc:chgData name="Koudelka, Matt" userId="67237109-5853-4711-8261-4d29215914f4" providerId="ADAL" clId="{C1C0FC65-B641-4F94-8062-92A73CA092D2}" dt="2025-10-22T23:14:02.131" v="6551"/>
        <pc:sldMkLst>
          <pc:docMk/>
          <pc:sldMk cId="1608750403" sldId="699"/>
        </pc:sldMkLst>
        <pc:spChg chg="mod">
          <ac:chgData name="Koudelka, Matt" userId="67237109-5853-4711-8261-4d29215914f4" providerId="ADAL" clId="{C1C0FC65-B641-4F94-8062-92A73CA092D2}" dt="2025-10-16T01:13:59.531" v="170" actId="20577"/>
          <ac:spMkLst>
            <pc:docMk/>
            <pc:sldMk cId="1608750403" sldId="699"/>
            <ac:spMk id="2" creationId="{25F0A5D7-1E73-4084-BFBB-8BCF68C45724}"/>
          </ac:spMkLst>
        </pc:spChg>
        <pc:spChg chg="add mod">
          <ac:chgData name="Koudelka, Matt" userId="67237109-5853-4711-8261-4d29215914f4" providerId="ADAL" clId="{C1C0FC65-B641-4F94-8062-92A73CA092D2}" dt="2025-10-22T13:09:40.463" v="6010" actId="20577"/>
          <ac:spMkLst>
            <pc:docMk/>
            <pc:sldMk cId="1608750403" sldId="699"/>
            <ac:spMk id="3" creationId="{94923C15-6BCA-033C-5836-E4D5EC506AB1}"/>
          </ac:spMkLst>
        </pc:spChg>
        <pc:spChg chg="mod">
          <ac:chgData name="Koudelka, Matt" userId="67237109-5853-4711-8261-4d29215914f4" providerId="ADAL" clId="{C1C0FC65-B641-4F94-8062-92A73CA092D2}" dt="2025-10-16T01:13:53.233" v="152" actId="20577"/>
          <ac:spMkLst>
            <pc:docMk/>
            <pc:sldMk cId="1608750403" sldId="699"/>
            <ac:spMk id="7" creationId="{9B580489-4711-3797-8E47-82A43B6EE798}"/>
          </ac:spMkLst>
        </pc:spChg>
      </pc:sldChg>
      <pc:sldChg chg="modSp mod">
        <pc:chgData name="Koudelka, Matt" userId="67237109-5853-4711-8261-4d29215914f4" providerId="ADAL" clId="{C1C0FC65-B641-4F94-8062-92A73CA092D2}" dt="2025-10-23T20:21:37.542" v="8660" actId="2711"/>
        <pc:sldMkLst>
          <pc:docMk/>
          <pc:sldMk cId="2739463119" sldId="765"/>
        </pc:sldMkLst>
        <pc:spChg chg="mod">
          <ac:chgData name="Koudelka, Matt" userId="67237109-5853-4711-8261-4d29215914f4" providerId="ADAL" clId="{C1C0FC65-B641-4F94-8062-92A73CA092D2}" dt="2025-10-23T20:14:36.929" v="8356" actId="403"/>
          <ac:spMkLst>
            <pc:docMk/>
            <pc:sldMk cId="2739463119" sldId="765"/>
            <ac:spMk id="5" creationId="{921D08C5-DDC9-DEB3-F955-EC9A696F11B5}"/>
          </ac:spMkLst>
        </pc:spChg>
        <pc:spChg chg="mod">
          <ac:chgData name="Koudelka, Matt" userId="67237109-5853-4711-8261-4d29215914f4" providerId="ADAL" clId="{C1C0FC65-B641-4F94-8062-92A73CA092D2}" dt="2025-10-23T20:21:37.542" v="8660" actId="2711"/>
          <ac:spMkLst>
            <pc:docMk/>
            <pc:sldMk cId="2739463119" sldId="765"/>
            <ac:spMk id="7" creationId="{6A382EB4-732E-D420-ED2E-99B8CEA8B070}"/>
          </ac:spMkLst>
        </pc:spChg>
      </pc:sldChg>
      <pc:sldChg chg="addSp delSp modSp mod ord">
        <pc:chgData name="Koudelka, Matt" userId="67237109-5853-4711-8261-4d29215914f4" providerId="ADAL" clId="{C1C0FC65-B641-4F94-8062-92A73CA092D2}" dt="2025-10-23T20:23:03.360" v="8667" actId="207"/>
        <pc:sldMkLst>
          <pc:docMk/>
          <pc:sldMk cId="3359619883" sldId="779"/>
        </pc:sldMkLst>
        <pc:spChg chg="mod">
          <ac:chgData name="Koudelka, Matt" userId="67237109-5853-4711-8261-4d29215914f4" providerId="ADAL" clId="{C1C0FC65-B641-4F94-8062-92A73CA092D2}" dt="2025-10-23T20:21:49.425" v="8661" actId="2711"/>
          <ac:spMkLst>
            <pc:docMk/>
            <pc:sldMk cId="3359619883" sldId="779"/>
            <ac:spMk id="3" creationId="{F52C0ACD-0D98-4DE6-9146-54BD5195D6AF}"/>
          </ac:spMkLst>
        </pc:spChg>
        <pc:spChg chg="add del mod">
          <ac:chgData name="Koudelka, Matt" userId="67237109-5853-4711-8261-4d29215914f4" providerId="ADAL" clId="{C1C0FC65-B641-4F94-8062-92A73CA092D2}" dt="2025-10-22T13:15:13.037" v="6189" actId="21"/>
          <ac:spMkLst>
            <pc:docMk/>
            <pc:sldMk cId="3359619883" sldId="779"/>
            <ac:spMk id="4" creationId="{33FC1ABB-F367-D8C6-913A-6B97DA6E7F15}"/>
          </ac:spMkLst>
        </pc:spChg>
        <pc:spChg chg="add del mod">
          <ac:chgData name="Koudelka, Matt" userId="67237109-5853-4711-8261-4d29215914f4" providerId="ADAL" clId="{C1C0FC65-B641-4F94-8062-92A73CA092D2}" dt="2025-10-23T13:29:09.953" v="7337" actId="478"/>
          <ac:spMkLst>
            <pc:docMk/>
            <pc:sldMk cId="3359619883" sldId="779"/>
            <ac:spMk id="5" creationId="{33FC1ABB-F367-D8C6-913A-6B97DA6E7F15}"/>
          </ac:spMkLst>
        </pc:spChg>
        <pc:spChg chg="mod">
          <ac:chgData name="Koudelka, Matt" userId="67237109-5853-4711-8261-4d29215914f4" providerId="ADAL" clId="{C1C0FC65-B641-4F94-8062-92A73CA092D2}" dt="2025-10-23T20:23:03.360" v="8667" actId="207"/>
          <ac:spMkLst>
            <pc:docMk/>
            <pc:sldMk cId="3359619883" sldId="779"/>
            <ac:spMk id="38" creationId="{45A456E4-4B0C-BDE4-8BF6-80E26DD761FB}"/>
          </ac:spMkLst>
        </pc:spChg>
        <pc:graphicFrameChg chg="add mod modGraphic">
          <ac:chgData name="Koudelka, Matt" userId="67237109-5853-4711-8261-4d29215914f4" providerId="ADAL" clId="{C1C0FC65-B641-4F94-8062-92A73CA092D2}" dt="2025-10-23T14:05:16.184" v="7362" actId="1035"/>
          <ac:graphicFrameMkLst>
            <pc:docMk/>
            <pc:sldMk cId="3359619883" sldId="779"/>
            <ac:graphicFrameMk id="2" creationId="{243E2FF1-E2C8-5A4F-98BD-C81E137D579C}"/>
          </ac:graphicFrameMkLst>
        </pc:graphicFrameChg>
      </pc:sldChg>
      <pc:sldChg chg="mod ord modShow">
        <pc:chgData name="Koudelka, Matt" userId="67237109-5853-4711-8261-4d29215914f4" providerId="ADAL" clId="{C1C0FC65-B641-4F94-8062-92A73CA092D2}" dt="2025-10-23T17:19:47.204" v="7468" actId="729"/>
        <pc:sldMkLst>
          <pc:docMk/>
          <pc:sldMk cId="767592191" sldId="2142532780"/>
        </pc:sldMkLst>
      </pc:sldChg>
      <pc:sldChg chg="delSp modSp del mod ord">
        <pc:chgData name="Koudelka, Matt" userId="67237109-5853-4711-8261-4d29215914f4" providerId="ADAL" clId="{C1C0FC65-B641-4F94-8062-92A73CA092D2}" dt="2025-10-16T01:19:37.244" v="210" actId="47"/>
        <pc:sldMkLst>
          <pc:docMk/>
          <pc:sldMk cId="1645925511" sldId="2147481405"/>
        </pc:sldMkLst>
      </pc:sldChg>
      <pc:sldChg chg="del ord">
        <pc:chgData name="Koudelka, Matt" userId="67237109-5853-4711-8261-4d29215914f4" providerId="ADAL" clId="{C1C0FC65-B641-4F94-8062-92A73CA092D2}" dt="2025-10-23T20:01:50.078" v="8117" actId="47"/>
        <pc:sldMkLst>
          <pc:docMk/>
          <pc:sldMk cId="3888297934" sldId="2147483419"/>
        </pc:sldMkLst>
      </pc:sldChg>
      <pc:sldChg chg="delSp modSp del mod">
        <pc:chgData name="Koudelka, Matt" userId="67237109-5853-4711-8261-4d29215914f4" providerId="ADAL" clId="{C1C0FC65-B641-4F94-8062-92A73CA092D2}" dt="2025-10-16T01:15:30.673" v="185" actId="47"/>
        <pc:sldMkLst>
          <pc:docMk/>
          <pc:sldMk cId="2357939808" sldId="2147483427"/>
        </pc:sldMkLst>
      </pc:sldChg>
      <pc:sldChg chg="delSp modSp del mod ord">
        <pc:chgData name="Koudelka, Matt" userId="67237109-5853-4711-8261-4d29215914f4" providerId="ADAL" clId="{C1C0FC65-B641-4F94-8062-92A73CA092D2}" dt="2025-10-16T01:19:39.586" v="211" actId="47"/>
        <pc:sldMkLst>
          <pc:docMk/>
          <pc:sldMk cId="2546389208" sldId="2147483428"/>
        </pc:sldMkLst>
      </pc:sldChg>
      <pc:sldChg chg="delSp modSp mod">
        <pc:chgData name="Koudelka, Matt" userId="67237109-5853-4711-8261-4d29215914f4" providerId="ADAL" clId="{C1C0FC65-B641-4F94-8062-92A73CA092D2}" dt="2025-10-16T01:13:41.908" v="148" actId="20577"/>
        <pc:sldMkLst>
          <pc:docMk/>
          <pc:sldMk cId="1042423689" sldId="2147483519"/>
        </pc:sldMkLst>
      </pc:sldChg>
      <pc:sldChg chg="addSp delSp modSp add mod ord">
        <pc:chgData name="Koudelka, Matt" userId="67237109-5853-4711-8261-4d29215914f4" providerId="ADAL" clId="{C1C0FC65-B641-4F94-8062-92A73CA092D2}" dt="2025-10-23T17:19:13.839" v="7430" actId="20577"/>
        <pc:sldMkLst>
          <pc:docMk/>
          <pc:sldMk cId="1602530467" sldId="2147483520"/>
        </pc:sldMkLst>
        <pc:spChg chg="mod">
          <ac:chgData name="Koudelka, Matt" userId="67237109-5853-4711-8261-4d29215914f4" providerId="ADAL" clId="{C1C0FC65-B641-4F94-8062-92A73CA092D2}" dt="2025-10-16T01:10:48.771" v="97"/>
          <ac:spMkLst>
            <pc:docMk/>
            <pc:sldMk cId="1602530467" sldId="2147483520"/>
            <ac:spMk id="7" creationId="{E138B3BA-4EDF-11C5-0F38-AD66DB3B39A1}"/>
          </ac:spMkLst>
        </pc:spChg>
        <pc:spChg chg="mod">
          <ac:chgData name="Koudelka, Matt" userId="67237109-5853-4711-8261-4d29215914f4" providerId="ADAL" clId="{C1C0FC65-B641-4F94-8062-92A73CA092D2}" dt="2025-10-16T01:10:48.771" v="97"/>
          <ac:spMkLst>
            <pc:docMk/>
            <pc:sldMk cId="1602530467" sldId="2147483520"/>
            <ac:spMk id="8" creationId="{933C03D0-0A5D-6491-FF78-B1CA3872B8A7}"/>
          </ac:spMkLst>
        </pc:spChg>
        <pc:spChg chg="mod">
          <ac:chgData name="Koudelka, Matt" userId="67237109-5853-4711-8261-4d29215914f4" providerId="ADAL" clId="{C1C0FC65-B641-4F94-8062-92A73CA092D2}" dt="2025-10-23T17:18:56.612" v="7412" actId="1036"/>
          <ac:spMkLst>
            <pc:docMk/>
            <pc:sldMk cId="1602530467" sldId="2147483520"/>
            <ac:spMk id="9" creationId="{B85178A6-311B-A274-9E72-1FB54B39413F}"/>
          </ac:spMkLst>
        </pc:spChg>
        <pc:spChg chg="add mod">
          <ac:chgData name="Koudelka, Matt" userId="67237109-5853-4711-8261-4d29215914f4" providerId="ADAL" clId="{C1C0FC65-B641-4F94-8062-92A73CA092D2}" dt="2025-10-23T17:18:56.612" v="7412" actId="1036"/>
          <ac:spMkLst>
            <pc:docMk/>
            <pc:sldMk cId="1602530467" sldId="2147483520"/>
            <ac:spMk id="14" creationId="{49DC0C65-5709-314D-87A4-8B928FB83813}"/>
          </ac:spMkLst>
        </pc:spChg>
        <pc:spChg chg="add mod">
          <ac:chgData name="Koudelka, Matt" userId="67237109-5853-4711-8261-4d29215914f4" providerId="ADAL" clId="{C1C0FC65-B641-4F94-8062-92A73CA092D2}" dt="2025-10-23T17:18:56.612" v="7412" actId="1036"/>
          <ac:spMkLst>
            <pc:docMk/>
            <pc:sldMk cId="1602530467" sldId="2147483520"/>
            <ac:spMk id="15" creationId="{9FCBBDEB-D9C7-1EA2-6456-A200C3A6E3E3}"/>
          </ac:spMkLst>
        </pc:spChg>
        <pc:spChg chg="mod">
          <ac:chgData name="Koudelka, Matt" userId="67237109-5853-4711-8261-4d29215914f4" providerId="ADAL" clId="{C1C0FC65-B641-4F94-8062-92A73CA092D2}" dt="2025-10-16T01:10:48.771" v="97"/>
          <ac:spMkLst>
            <pc:docMk/>
            <pc:sldMk cId="1602530467" sldId="2147483520"/>
            <ac:spMk id="18" creationId="{B6CDBCFA-C56F-3497-2AD7-F294AA67A60D}"/>
          </ac:spMkLst>
        </pc:spChg>
        <pc:spChg chg="del">
          <ac:chgData name="Koudelka, Matt" userId="67237109-5853-4711-8261-4d29215914f4" providerId="ADAL" clId="{C1C0FC65-B641-4F94-8062-92A73CA092D2}" dt="2025-10-23T17:17:56.883" v="7367" actId="478"/>
          <ac:spMkLst>
            <pc:docMk/>
            <pc:sldMk cId="1602530467" sldId="2147483520"/>
            <ac:spMk id="19" creationId="{BA68FAD2-C24D-67F4-7A87-53C237053E51}"/>
          </ac:spMkLst>
        </pc:spChg>
        <pc:spChg chg="add mod">
          <ac:chgData name="Koudelka, Matt" userId="67237109-5853-4711-8261-4d29215914f4" providerId="ADAL" clId="{C1C0FC65-B641-4F94-8062-92A73CA092D2}" dt="2025-10-16T01:10:48.771" v="97"/>
          <ac:spMkLst>
            <pc:docMk/>
            <pc:sldMk cId="1602530467" sldId="2147483520"/>
            <ac:spMk id="20" creationId="{77D58085-EF7B-45F1-B839-9D251D4E8035}"/>
          </ac:spMkLst>
        </pc:spChg>
        <pc:spChg chg="mod">
          <ac:chgData name="Koudelka, Matt" userId="67237109-5853-4711-8261-4d29215914f4" providerId="ADAL" clId="{C1C0FC65-B641-4F94-8062-92A73CA092D2}" dt="2025-10-23T17:18:56.612" v="7412" actId="1036"/>
          <ac:spMkLst>
            <pc:docMk/>
            <pc:sldMk cId="1602530467" sldId="2147483520"/>
            <ac:spMk id="21" creationId="{318EB8AA-0B94-3659-95A2-F18039571EB2}"/>
          </ac:spMkLst>
        </pc:spChg>
        <pc:spChg chg="add mod">
          <ac:chgData name="Koudelka, Matt" userId="67237109-5853-4711-8261-4d29215914f4" providerId="ADAL" clId="{C1C0FC65-B641-4F94-8062-92A73CA092D2}" dt="2025-10-23T17:18:56.612" v="7412" actId="1036"/>
          <ac:spMkLst>
            <pc:docMk/>
            <pc:sldMk cId="1602530467" sldId="2147483520"/>
            <ac:spMk id="22" creationId="{4C8BB4DE-91F7-D64C-6504-202ACE3C6A5E}"/>
          </ac:spMkLst>
        </pc:spChg>
        <pc:spChg chg="add mod">
          <ac:chgData name="Koudelka, Matt" userId="67237109-5853-4711-8261-4d29215914f4" providerId="ADAL" clId="{C1C0FC65-B641-4F94-8062-92A73CA092D2}" dt="2025-10-23T17:18:56.612" v="7412" actId="1036"/>
          <ac:spMkLst>
            <pc:docMk/>
            <pc:sldMk cId="1602530467" sldId="2147483520"/>
            <ac:spMk id="23" creationId="{21419FCC-3E84-6C2C-DB7C-C9AB4C1E239A}"/>
          </ac:spMkLst>
        </pc:spChg>
        <pc:spChg chg="add mod">
          <ac:chgData name="Koudelka, Matt" userId="67237109-5853-4711-8261-4d29215914f4" providerId="ADAL" clId="{C1C0FC65-B641-4F94-8062-92A73CA092D2}" dt="2025-10-23T17:18:56.612" v="7412" actId="1036"/>
          <ac:spMkLst>
            <pc:docMk/>
            <pc:sldMk cId="1602530467" sldId="2147483520"/>
            <ac:spMk id="24" creationId="{4F36BEC5-3CE5-1C89-5124-1F823FA194E4}"/>
          </ac:spMkLst>
        </pc:spChg>
        <pc:spChg chg="add mod">
          <ac:chgData name="Koudelka, Matt" userId="67237109-5853-4711-8261-4d29215914f4" providerId="ADAL" clId="{C1C0FC65-B641-4F94-8062-92A73CA092D2}" dt="2025-10-23T17:18:56.612" v="7412" actId="1036"/>
          <ac:spMkLst>
            <pc:docMk/>
            <pc:sldMk cId="1602530467" sldId="2147483520"/>
            <ac:spMk id="25" creationId="{6843B847-B9B4-9ACB-075B-177CE8CBAB95}"/>
          </ac:spMkLst>
        </pc:spChg>
        <pc:spChg chg="mod">
          <ac:chgData name="Koudelka, Matt" userId="67237109-5853-4711-8261-4d29215914f4" providerId="ADAL" clId="{C1C0FC65-B641-4F94-8062-92A73CA092D2}" dt="2025-10-23T17:18:56.612" v="7412" actId="1036"/>
          <ac:spMkLst>
            <pc:docMk/>
            <pc:sldMk cId="1602530467" sldId="2147483520"/>
            <ac:spMk id="27" creationId="{F0A85758-C10D-4940-2E9B-1B8F79D8264F}"/>
          </ac:spMkLst>
        </pc:spChg>
        <pc:spChg chg="mod">
          <ac:chgData name="Koudelka, Matt" userId="67237109-5853-4711-8261-4d29215914f4" providerId="ADAL" clId="{C1C0FC65-B641-4F94-8062-92A73CA092D2}" dt="2025-10-23T17:18:56.612" v="7412" actId="1036"/>
          <ac:spMkLst>
            <pc:docMk/>
            <pc:sldMk cId="1602530467" sldId="2147483520"/>
            <ac:spMk id="28" creationId="{C4F0EE2F-55B2-B949-682D-DEC4B7B53DE0}"/>
          </ac:spMkLst>
        </pc:spChg>
        <pc:spChg chg="add del mod">
          <ac:chgData name="Koudelka, Matt" userId="67237109-5853-4711-8261-4d29215914f4" providerId="ADAL" clId="{C1C0FC65-B641-4F94-8062-92A73CA092D2}" dt="2025-10-23T17:17:58.029" v="7368" actId="478"/>
          <ac:spMkLst>
            <pc:docMk/>
            <pc:sldMk cId="1602530467" sldId="2147483520"/>
            <ac:spMk id="30" creationId="{B4849E28-E515-CD98-F43D-961864C10004}"/>
          </ac:spMkLst>
        </pc:spChg>
        <pc:spChg chg="add mod">
          <ac:chgData name="Koudelka, Matt" userId="67237109-5853-4711-8261-4d29215914f4" providerId="ADAL" clId="{C1C0FC65-B641-4F94-8062-92A73CA092D2}" dt="2025-10-23T17:19:13.839" v="7430" actId="20577"/>
          <ac:spMkLst>
            <pc:docMk/>
            <pc:sldMk cId="1602530467" sldId="2147483520"/>
            <ac:spMk id="31" creationId="{6DBDF555-7715-A2D0-13EF-55D80A29132D}"/>
          </ac:spMkLst>
        </pc:spChg>
      </pc:sldChg>
      <pc:sldChg chg="addSp delSp modSp add mod ord">
        <pc:chgData name="Koudelka, Matt" userId="67237109-5853-4711-8261-4d29215914f4" providerId="ADAL" clId="{C1C0FC65-B641-4F94-8062-92A73CA092D2}" dt="2025-10-23T17:19:33.996" v="7462" actId="1036"/>
        <pc:sldMkLst>
          <pc:docMk/>
          <pc:sldMk cId="3157811391" sldId="2147483521"/>
        </pc:sldMkLst>
        <pc:spChg chg="add del mod">
          <ac:chgData name="Koudelka, Matt" userId="67237109-5853-4711-8261-4d29215914f4" providerId="ADAL" clId="{C1C0FC65-B641-4F94-8062-92A73CA092D2}" dt="2025-10-23T17:18:01.975" v="7370" actId="478"/>
          <ac:spMkLst>
            <pc:docMk/>
            <pc:sldMk cId="3157811391" sldId="2147483521"/>
            <ac:spMk id="4" creationId="{C0FC1372-B93A-DE67-412D-FFAA6B002DD3}"/>
          </ac:spMkLst>
        </pc:spChg>
        <pc:spChg chg="add mod">
          <ac:chgData name="Koudelka, Matt" userId="67237109-5853-4711-8261-4d29215914f4" providerId="ADAL" clId="{C1C0FC65-B641-4F94-8062-92A73CA092D2}" dt="2025-10-23T17:19:33.996" v="7462" actId="1036"/>
          <ac:spMkLst>
            <pc:docMk/>
            <pc:sldMk cId="3157811391" sldId="2147483521"/>
            <ac:spMk id="7" creationId="{DCDD55FC-9107-B4EF-20F2-0F3ED405D03C}"/>
          </ac:spMkLst>
        </pc:spChg>
        <pc:spChg chg="del">
          <ac:chgData name="Koudelka, Matt" userId="67237109-5853-4711-8261-4d29215914f4" providerId="ADAL" clId="{C1C0FC65-B641-4F94-8062-92A73CA092D2}" dt="2025-10-23T17:18:00.972" v="7369" actId="478"/>
          <ac:spMkLst>
            <pc:docMk/>
            <pc:sldMk cId="3157811391" sldId="2147483521"/>
            <ac:spMk id="19" creationId="{1778BA7D-532D-613E-027B-1710AE98D75E}"/>
          </ac:spMkLst>
        </pc:spChg>
        <pc:spChg chg="add mod">
          <ac:chgData name="Koudelka, Matt" userId="67237109-5853-4711-8261-4d29215914f4" providerId="ADAL" clId="{C1C0FC65-B641-4F94-8062-92A73CA092D2}" dt="2025-10-23T17:19:33.996" v="7462" actId="1036"/>
          <ac:spMkLst>
            <pc:docMk/>
            <pc:sldMk cId="3157811391" sldId="2147483521"/>
            <ac:spMk id="29" creationId="{19DDE796-1321-A6E6-5BBD-EB8A1C99F338}"/>
          </ac:spMkLst>
        </pc:spChg>
        <pc:spChg chg="mod">
          <ac:chgData name="Koudelka, Matt" userId="67237109-5853-4711-8261-4d29215914f4" providerId="ADAL" clId="{C1C0FC65-B641-4F94-8062-92A73CA092D2}" dt="2025-10-16T01:11:33.048" v="100"/>
          <ac:spMkLst>
            <pc:docMk/>
            <pc:sldMk cId="3157811391" sldId="2147483521"/>
            <ac:spMk id="37" creationId="{8310BC46-4435-F915-A757-DA2327D87E0A}"/>
          </ac:spMkLst>
        </pc:spChg>
        <pc:spChg chg="mod">
          <ac:chgData name="Koudelka, Matt" userId="67237109-5853-4711-8261-4d29215914f4" providerId="ADAL" clId="{C1C0FC65-B641-4F94-8062-92A73CA092D2}" dt="2025-10-23T17:19:33.996" v="7462" actId="1036"/>
          <ac:spMkLst>
            <pc:docMk/>
            <pc:sldMk cId="3157811391" sldId="2147483521"/>
            <ac:spMk id="41" creationId="{76A9F298-777B-8C56-566E-A36377AD04F7}"/>
          </ac:spMkLst>
        </pc:spChg>
        <pc:spChg chg="add mod">
          <ac:chgData name="Koudelka, Matt" userId="67237109-5853-4711-8261-4d29215914f4" providerId="ADAL" clId="{C1C0FC65-B641-4F94-8062-92A73CA092D2}" dt="2025-10-16T01:11:33.048" v="100"/>
          <ac:spMkLst>
            <pc:docMk/>
            <pc:sldMk cId="3157811391" sldId="2147483521"/>
            <ac:spMk id="42" creationId="{9E0BA511-AA3F-AFFC-ACD8-02C4DF038DFB}"/>
          </ac:spMkLst>
        </pc:spChg>
        <pc:spChg chg="add mod">
          <ac:chgData name="Koudelka, Matt" userId="67237109-5853-4711-8261-4d29215914f4" providerId="ADAL" clId="{C1C0FC65-B641-4F94-8062-92A73CA092D2}" dt="2025-10-16T01:11:33.048" v="100"/>
          <ac:spMkLst>
            <pc:docMk/>
            <pc:sldMk cId="3157811391" sldId="2147483521"/>
            <ac:spMk id="43" creationId="{AAFA28A4-7F51-4F5C-7325-4895220F96AC}"/>
          </ac:spMkLst>
        </pc:spChg>
        <pc:spChg chg="mod">
          <ac:chgData name="Koudelka, Matt" userId="67237109-5853-4711-8261-4d29215914f4" providerId="ADAL" clId="{C1C0FC65-B641-4F94-8062-92A73CA092D2}" dt="2025-10-23T17:19:33.996" v="7462" actId="1036"/>
          <ac:spMkLst>
            <pc:docMk/>
            <pc:sldMk cId="3157811391" sldId="2147483521"/>
            <ac:spMk id="49" creationId="{A902329A-3CCB-2495-8E91-0522822DC8FB}"/>
          </ac:spMkLst>
        </pc:spChg>
        <pc:spChg chg="add mod">
          <ac:chgData name="Koudelka, Matt" userId="67237109-5853-4711-8261-4d29215914f4" providerId="ADAL" clId="{C1C0FC65-B641-4F94-8062-92A73CA092D2}" dt="2025-10-23T17:19:33.996" v="7462" actId="1036"/>
          <ac:spMkLst>
            <pc:docMk/>
            <pc:sldMk cId="3157811391" sldId="2147483521"/>
            <ac:spMk id="50" creationId="{9ABAAE8D-F867-FFBD-E479-A44F77EC1D3D}"/>
          </ac:spMkLst>
        </pc:spChg>
        <pc:spChg chg="mod">
          <ac:chgData name="Koudelka, Matt" userId="67237109-5853-4711-8261-4d29215914f4" providerId="ADAL" clId="{C1C0FC65-B641-4F94-8062-92A73CA092D2}" dt="2025-10-23T17:19:33.996" v="7462" actId="1036"/>
          <ac:spMkLst>
            <pc:docMk/>
            <pc:sldMk cId="3157811391" sldId="2147483521"/>
            <ac:spMk id="51" creationId="{07F9C635-9AD2-4E7A-571F-4C483FFFC4AB}"/>
          </ac:spMkLst>
        </pc:spChg>
        <pc:spChg chg="add mod">
          <ac:chgData name="Koudelka, Matt" userId="67237109-5853-4711-8261-4d29215914f4" providerId="ADAL" clId="{C1C0FC65-B641-4F94-8062-92A73CA092D2}" dt="2025-10-23T17:19:33.996" v="7462" actId="1036"/>
          <ac:spMkLst>
            <pc:docMk/>
            <pc:sldMk cId="3157811391" sldId="2147483521"/>
            <ac:spMk id="52" creationId="{58FB312C-06EF-CECD-26AC-977F15BAC737}"/>
          </ac:spMkLst>
        </pc:spChg>
        <pc:spChg chg="mod">
          <ac:chgData name="Koudelka, Matt" userId="67237109-5853-4711-8261-4d29215914f4" providerId="ADAL" clId="{C1C0FC65-B641-4F94-8062-92A73CA092D2}" dt="2025-10-23T17:19:33.996" v="7462" actId="1036"/>
          <ac:spMkLst>
            <pc:docMk/>
            <pc:sldMk cId="3157811391" sldId="2147483521"/>
            <ac:spMk id="53" creationId="{CD5E1539-C925-0E7C-89A3-89ED0E17A692}"/>
          </ac:spMkLst>
        </pc:spChg>
        <pc:spChg chg="mod">
          <ac:chgData name="Koudelka, Matt" userId="67237109-5853-4711-8261-4d29215914f4" providerId="ADAL" clId="{C1C0FC65-B641-4F94-8062-92A73CA092D2}" dt="2025-10-23T17:19:33.996" v="7462" actId="1036"/>
          <ac:spMkLst>
            <pc:docMk/>
            <pc:sldMk cId="3157811391" sldId="2147483521"/>
            <ac:spMk id="54" creationId="{221EC25F-B194-0E0B-CCD9-9E77E22286D4}"/>
          </ac:spMkLst>
        </pc:spChg>
        <pc:spChg chg="add mod">
          <ac:chgData name="Koudelka, Matt" userId="67237109-5853-4711-8261-4d29215914f4" providerId="ADAL" clId="{C1C0FC65-B641-4F94-8062-92A73CA092D2}" dt="2025-10-23T17:19:33.996" v="7462" actId="1036"/>
          <ac:spMkLst>
            <pc:docMk/>
            <pc:sldMk cId="3157811391" sldId="2147483521"/>
            <ac:spMk id="55" creationId="{74EC8E61-7B24-D1D7-6B9A-18CA2657CC19}"/>
          </ac:spMkLst>
        </pc:spChg>
        <pc:spChg chg="add mod">
          <ac:chgData name="Koudelka, Matt" userId="67237109-5853-4711-8261-4d29215914f4" providerId="ADAL" clId="{C1C0FC65-B641-4F94-8062-92A73CA092D2}" dt="2025-10-16T01:11:33.048" v="100"/>
          <ac:spMkLst>
            <pc:docMk/>
            <pc:sldMk cId="3157811391" sldId="2147483521"/>
            <ac:spMk id="58" creationId="{5F2EE30D-1FB8-E2CC-46F3-89EA78EB6ECC}"/>
          </ac:spMkLst>
        </pc:spChg>
        <pc:spChg chg="mod">
          <ac:chgData name="Koudelka, Matt" userId="67237109-5853-4711-8261-4d29215914f4" providerId="ADAL" clId="{C1C0FC65-B641-4F94-8062-92A73CA092D2}" dt="2025-10-16T01:11:33.048" v="100"/>
          <ac:spMkLst>
            <pc:docMk/>
            <pc:sldMk cId="3157811391" sldId="2147483521"/>
            <ac:spMk id="60" creationId="{1FE9ED2C-AA21-9246-0D87-9BE2148330D7}"/>
          </ac:spMkLst>
        </pc:spChg>
        <pc:spChg chg="mod">
          <ac:chgData name="Koudelka, Matt" userId="67237109-5853-4711-8261-4d29215914f4" providerId="ADAL" clId="{C1C0FC65-B641-4F94-8062-92A73CA092D2}" dt="2025-10-16T01:11:33.048" v="100"/>
          <ac:spMkLst>
            <pc:docMk/>
            <pc:sldMk cId="3157811391" sldId="2147483521"/>
            <ac:spMk id="61" creationId="{97367007-BF5A-0F91-8AAC-D59AACCDAEA9}"/>
          </ac:spMkLst>
        </pc:spChg>
      </pc:sldChg>
      <pc:sldChg chg="addSp delSp modSp add mod ord">
        <pc:chgData name="Koudelka, Matt" userId="67237109-5853-4711-8261-4d29215914f4" providerId="ADAL" clId="{C1C0FC65-B641-4F94-8062-92A73CA092D2}" dt="2025-10-23T20:23:48.048" v="8671" actId="2711"/>
        <pc:sldMkLst>
          <pc:docMk/>
          <pc:sldMk cId="4017980223" sldId="2147483522"/>
        </pc:sldMkLst>
        <pc:spChg chg="mod">
          <ac:chgData name="Koudelka, Matt" userId="67237109-5853-4711-8261-4d29215914f4" providerId="ADAL" clId="{C1C0FC65-B641-4F94-8062-92A73CA092D2}" dt="2025-10-23T20:23:42.778" v="8670" actId="2711"/>
          <ac:spMkLst>
            <pc:docMk/>
            <pc:sldMk cId="4017980223" sldId="2147483522"/>
            <ac:spMk id="2" creationId="{A746C68F-E6A4-C815-4CC0-FB87FF5CACC0}"/>
          </ac:spMkLst>
        </pc:spChg>
        <pc:spChg chg="add mod">
          <ac:chgData name="Koudelka, Matt" userId="67237109-5853-4711-8261-4d29215914f4" providerId="ADAL" clId="{C1C0FC65-B641-4F94-8062-92A73CA092D2}" dt="2025-10-16T01:12:33.253" v="104"/>
          <ac:spMkLst>
            <pc:docMk/>
            <pc:sldMk cId="4017980223" sldId="2147483522"/>
            <ac:spMk id="3" creationId="{B44F79BC-A8BB-132C-7F93-C2E39219B7C4}"/>
          </ac:spMkLst>
        </pc:spChg>
        <pc:spChg chg="add mod">
          <ac:chgData name="Koudelka, Matt" userId="67237109-5853-4711-8261-4d29215914f4" providerId="ADAL" clId="{C1C0FC65-B641-4F94-8062-92A73CA092D2}" dt="2025-10-16T01:12:33.253" v="104"/>
          <ac:spMkLst>
            <pc:docMk/>
            <pc:sldMk cId="4017980223" sldId="2147483522"/>
            <ac:spMk id="4" creationId="{9EC4319B-C211-3CF8-06BA-2724691D28B2}"/>
          </ac:spMkLst>
        </pc:spChg>
        <pc:spChg chg="add mod">
          <ac:chgData name="Koudelka, Matt" userId="67237109-5853-4711-8261-4d29215914f4" providerId="ADAL" clId="{C1C0FC65-B641-4F94-8062-92A73CA092D2}" dt="2025-10-16T01:12:33.253" v="104"/>
          <ac:spMkLst>
            <pc:docMk/>
            <pc:sldMk cId="4017980223" sldId="2147483522"/>
            <ac:spMk id="7" creationId="{A9116176-1F32-28EE-A8C0-F5155CFAFA98}"/>
          </ac:spMkLst>
        </pc:spChg>
        <pc:spChg chg="add mod">
          <ac:chgData name="Koudelka, Matt" userId="67237109-5853-4711-8261-4d29215914f4" providerId="ADAL" clId="{C1C0FC65-B641-4F94-8062-92A73CA092D2}" dt="2025-10-16T01:12:33.253" v="104"/>
          <ac:spMkLst>
            <pc:docMk/>
            <pc:sldMk cId="4017980223" sldId="2147483522"/>
            <ac:spMk id="10" creationId="{9F3F85FE-C98B-87B7-B114-88794E422991}"/>
          </ac:spMkLst>
        </pc:spChg>
        <pc:spChg chg="add mod">
          <ac:chgData name="Koudelka, Matt" userId="67237109-5853-4711-8261-4d29215914f4" providerId="ADAL" clId="{C1C0FC65-B641-4F94-8062-92A73CA092D2}" dt="2025-10-21T18:11:16.541" v="3799" actId="13926"/>
          <ac:spMkLst>
            <pc:docMk/>
            <pc:sldMk cId="4017980223" sldId="2147483522"/>
            <ac:spMk id="11" creationId="{BD7D1628-0925-1084-1389-8F09914E9549}"/>
          </ac:spMkLst>
        </pc:spChg>
        <pc:spChg chg="add mod">
          <ac:chgData name="Koudelka, Matt" userId="67237109-5853-4711-8261-4d29215914f4" providerId="ADAL" clId="{C1C0FC65-B641-4F94-8062-92A73CA092D2}" dt="2025-10-16T01:12:33.253" v="104"/>
          <ac:spMkLst>
            <pc:docMk/>
            <pc:sldMk cId="4017980223" sldId="2147483522"/>
            <ac:spMk id="12" creationId="{AD89648D-A37D-78E5-EC14-F5497F2772A2}"/>
          </ac:spMkLst>
        </pc:spChg>
        <pc:spChg chg="mod">
          <ac:chgData name="Koudelka, Matt" userId="67237109-5853-4711-8261-4d29215914f4" providerId="ADAL" clId="{C1C0FC65-B641-4F94-8062-92A73CA092D2}" dt="2025-10-20T18:25:00.866" v="776" actId="6549"/>
          <ac:spMkLst>
            <pc:docMk/>
            <pc:sldMk cId="4017980223" sldId="2147483522"/>
            <ac:spMk id="15" creationId="{2789CAD2-97FD-2E68-4CED-FE89747643F4}"/>
          </ac:spMkLst>
        </pc:spChg>
        <pc:spChg chg="add mod">
          <ac:chgData name="Koudelka, Matt" userId="67237109-5853-4711-8261-4d29215914f4" providerId="ADAL" clId="{C1C0FC65-B641-4F94-8062-92A73CA092D2}" dt="2025-10-16T01:12:33.253" v="104"/>
          <ac:spMkLst>
            <pc:docMk/>
            <pc:sldMk cId="4017980223" sldId="2147483522"/>
            <ac:spMk id="16" creationId="{7122D61A-7943-C076-E479-DB5DE80D2D79}"/>
          </ac:spMkLst>
        </pc:spChg>
        <pc:spChg chg="add mod">
          <ac:chgData name="Koudelka, Matt" userId="67237109-5853-4711-8261-4d29215914f4" providerId="ADAL" clId="{C1C0FC65-B641-4F94-8062-92A73CA092D2}" dt="2025-10-16T01:12:33.253" v="104"/>
          <ac:spMkLst>
            <pc:docMk/>
            <pc:sldMk cId="4017980223" sldId="2147483522"/>
            <ac:spMk id="17" creationId="{24634836-7ADE-C9EB-7F88-A78D4CCC8D81}"/>
          </ac:spMkLst>
        </pc:spChg>
        <pc:spChg chg="add mod">
          <ac:chgData name="Koudelka, Matt" userId="67237109-5853-4711-8261-4d29215914f4" providerId="ADAL" clId="{C1C0FC65-B641-4F94-8062-92A73CA092D2}" dt="2025-10-16T01:12:33.253" v="104"/>
          <ac:spMkLst>
            <pc:docMk/>
            <pc:sldMk cId="4017980223" sldId="2147483522"/>
            <ac:spMk id="18" creationId="{97FB7AB9-8664-69AD-0741-EA16D1F58A12}"/>
          </ac:spMkLst>
        </pc:spChg>
        <pc:spChg chg="mod">
          <ac:chgData name="Koudelka, Matt" userId="67237109-5853-4711-8261-4d29215914f4" providerId="ADAL" clId="{C1C0FC65-B641-4F94-8062-92A73CA092D2}" dt="2025-10-23T20:23:48.048" v="8671" actId="2711"/>
          <ac:spMkLst>
            <pc:docMk/>
            <pc:sldMk cId="4017980223" sldId="2147483522"/>
            <ac:spMk id="19" creationId="{4297DDEA-6FEF-4E29-BE14-6594CF1083F3}"/>
          </ac:spMkLst>
        </pc:spChg>
        <pc:spChg chg="add mod">
          <ac:chgData name="Koudelka, Matt" userId="67237109-5853-4711-8261-4d29215914f4" providerId="ADAL" clId="{C1C0FC65-B641-4F94-8062-92A73CA092D2}" dt="2025-10-16T01:12:33.253" v="104"/>
          <ac:spMkLst>
            <pc:docMk/>
            <pc:sldMk cId="4017980223" sldId="2147483522"/>
            <ac:spMk id="20" creationId="{65646699-8A64-F294-B909-9281736481CC}"/>
          </ac:spMkLst>
        </pc:spChg>
        <pc:spChg chg="mod">
          <ac:chgData name="Koudelka, Matt" userId="67237109-5853-4711-8261-4d29215914f4" providerId="ADAL" clId="{C1C0FC65-B641-4F94-8062-92A73CA092D2}" dt="2025-10-21T19:59:33.965" v="5940" actId="122"/>
          <ac:spMkLst>
            <pc:docMk/>
            <pc:sldMk cId="4017980223" sldId="2147483522"/>
            <ac:spMk id="24" creationId="{A0564170-0111-5EAA-BFAC-643142C8A327}"/>
          </ac:spMkLst>
        </pc:spChg>
        <pc:cxnChg chg="mod">
          <ac:chgData name="Koudelka, Matt" userId="67237109-5853-4711-8261-4d29215914f4" providerId="ADAL" clId="{C1C0FC65-B641-4F94-8062-92A73CA092D2}" dt="2025-10-22T23:23:31.526" v="6596" actId="208"/>
          <ac:cxnSpMkLst>
            <pc:docMk/>
            <pc:sldMk cId="4017980223" sldId="2147483522"/>
            <ac:cxnSpMk id="8" creationId="{82F13435-8655-CF51-B64F-D50656F67BB6}"/>
          </ac:cxnSpMkLst>
        </pc:cxnChg>
        <pc:cxnChg chg="mod">
          <ac:chgData name="Koudelka, Matt" userId="67237109-5853-4711-8261-4d29215914f4" providerId="ADAL" clId="{C1C0FC65-B641-4F94-8062-92A73CA092D2}" dt="2025-10-22T23:23:31.526" v="6596" actId="208"/>
          <ac:cxnSpMkLst>
            <pc:docMk/>
            <pc:sldMk cId="4017980223" sldId="2147483522"/>
            <ac:cxnSpMk id="9" creationId="{C0634C39-AEF8-0991-3F4B-506E11BE8DA0}"/>
          </ac:cxnSpMkLst>
        </pc:cxnChg>
        <pc:cxnChg chg="mod">
          <ac:chgData name="Koudelka, Matt" userId="67237109-5853-4711-8261-4d29215914f4" providerId="ADAL" clId="{C1C0FC65-B641-4F94-8062-92A73CA092D2}" dt="2025-10-22T23:23:31.526" v="6596" actId="208"/>
          <ac:cxnSpMkLst>
            <pc:docMk/>
            <pc:sldMk cId="4017980223" sldId="2147483522"/>
            <ac:cxnSpMk id="14" creationId="{164AFCC8-8196-2F3D-1053-0D62220A2339}"/>
          </ac:cxnSpMkLst>
        </pc:cxnChg>
      </pc:sldChg>
      <pc:sldChg chg="modSp add mod">
        <pc:chgData name="Koudelka, Matt" userId="67237109-5853-4711-8261-4d29215914f4" providerId="ADAL" clId="{C1C0FC65-B641-4F94-8062-92A73CA092D2}" dt="2025-10-16T01:16:50.476" v="209" actId="20577"/>
        <pc:sldMkLst>
          <pc:docMk/>
          <pc:sldMk cId="1678020534" sldId="2147483523"/>
        </pc:sldMkLst>
      </pc:sldChg>
      <pc:sldChg chg="ord">
        <pc:chgData name="Koudelka, Matt" userId="67237109-5853-4711-8261-4d29215914f4" providerId="ADAL" clId="{C1C0FC65-B641-4F94-8062-92A73CA092D2}" dt="2025-10-23T17:19:36.939" v="7464"/>
        <pc:sldMkLst>
          <pc:docMk/>
          <pc:sldMk cId="1742964864" sldId="2147483524"/>
        </pc:sldMkLst>
      </pc:sldChg>
      <pc:sldChg chg="addSp delSp modSp mod ord">
        <pc:chgData name="Koudelka, Matt" userId="67237109-5853-4711-8261-4d29215914f4" providerId="ADAL" clId="{C1C0FC65-B641-4F94-8062-92A73CA092D2}" dt="2025-10-23T20:24:23.906" v="8676" actId="20577"/>
        <pc:sldMkLst>
          <pc:docMk/>
          <pc:sldMk cId="2843059858" sldId="2147483525"/>
        </pc:sldMkLst>
        <pc:spChg chg="add mod">
          <ac:chgData name="Koudelka, Matt" userId="67237109-5853-4711-8261-4d29215914f4" providerId="ADAL" clId="{C1C0FC65-B641-4F94-8062-92A73CA092D2}" dt="2025-10-23T20:24:23.906" v="8676" actId="20577"/>
          <ac:spMkLst>
            <pc:docMk/>
            <pc:sldMk cId="2843059858" sldId="2147483525"/>
            <ac:spMk id="2" creationId="{43E215A7-CCD1-2663-29ED-56AB7380B9F0}"/>
          </ac:spMkLst>
        </pc:spChg>
        <pc:spChg chg="mod">
          <ac:chgData name="Koudelka, Matt" userId="67237109-5853-4711-8261-4d29215914f4" providerId="ADAL" clId="{C1C0FC65-B641-4F94-8062-92A73CA092D2}" dt="2025-10-23T20:23:56.757" v="8672" actId="2711"/>
          <ac:spMkLst>
            <pc:docMk/>
            <pc:sldMk cId="2843059858" sldId="2147483525"/>
            <ac:spMk id="3" creationId="{21D2E374-0567-67D7-D101-C50D195D1415}"/>
          </ac:spMkLst>
        </pc:spChg>
        <pc:spChg chg="add del mod">
          <ac:chgData name="Koudelka, Matt" userId="67237109-5853-4711-8261-4d29215914f4" providerId="ADAL" clId="{C1C0FC65-B641-4F94-8062-92A73CA092D2}" dt="2025-10-22T23:42:55.438" v="6972" actId="478"/>
          <ac:spMkLst>
            <pc:docMk/>
            <pc:sldMk cId="2843059858" sldId="2147483525"/>
            <ac:spMk id="4" creationId="{F7BDED1F-972D-D57B-492A-89BD298FCB7C}"/>
          </ac:spMkLst>
        </pc:spChg>
        <pc:spChg chg="mod">
          <ac:chgData name="Koudelka, Matt" userId="67237109-5853-4711-8261-4d29215914f4" providerId="ADAL" clId="{C1C0FC65-B641-4F94-8062-92A73CA092D2}" dt="2025-10-22T13:05:01.824" v="5942" actId="20577"/>
          <ac:spMkLst>
            <pc:docMk/>
            <pc:sldMk cId="2843059858" sldId="2147483525"/>
            <ac:spMk id="7" creationId="{8A3F8234-571D-18B8-7AD7-6599C13FCBA5}"/>
          </ac:spMkLst>
        </pc:spChg>
        <pc:graphicFrameChg chg="mod modGraphic">
          <ac:chgData name="Koudelka, Matt" userId="67237109-5853-4711-8261-4d29215914f4" providerId="ADAL" clId="{C1C0FC65-B641-4F94-8062-92A73CA092D2}" dt="2025-10-23T20:07:16.790" v="8136" actId="403"/>
          <ac:graphicFrameMkLst>
            <pc:docMk/>
            <pc:sldMk cId="2843059858" sldId="2147483525"/>
            <ac:graphicFrameMk id="6" creationId="{2F8C853F-1002-3002-D333-CDE5C6580480}"/>
          </ac:graphicFrameMkLst>
        </pc:graphicFrameChg>
      </pc:sldChg>
      <pc:sldChg chg="addSp delSp modSp add mod modShow">
        <pc:chgData name="Koudelka, Matt" userId="67237109-5853-4711-8261-4d29215914f4" providerId="ADAL" clId="{C1C0FC65-B641-4F94-8062-92A73CA092D2}" dt="2025-10-23T17:19:47.204" v="7468" actId="729"/>
        <pc:sldMkLst>
          <pc:docMk/>
          <pc:sldMk cId="418558852" sldId="2147483526"/>
        </pc:sldMkLst>
        <pc:spChg chg="mod">
          <ac:chgData name="Koudelka, Matt" userId="67237109-5853-4711-8261-4d29215914f4" providerId="ADAL" clId="{C1C0FC65-B641-4F94-8062-92A73CA092D2}" dt="2025-10-20T17:34:35.315" v="263"/>
          <ac:spMkLst>
            <pc:docMk/>
            <pc:sldMk cId="418558852" sldId="2147483526"/>
            <ac:spMk id="12" creationId="{4C657587-3132-1B85-B03B-BE58C3445714}"/>
          </ac:spMkLst>
        </pc:spChg>
        <pc:spChg chg="mod">
          <ac:chgData name="Koudelka, Matt" userId="67237109-5853-4711-8261-4d29215914f4" providerId="ADAL" clId="{C1C0FC65-B641-4F94-8062-92A73CA092D2}" dt="2025-10-20T17:34:35.315" v="263"/>
          <ac:spMkLst>
            <pc:docMk/>
            <pc:sldMk cId="418558852" sldId="2147483526"/>
            <ac:spMk id="16" creationId="{2E587743-8659-EDAC-8F49-67E8F8145D3A}"/>
          </ac:spMkLst>
        </pc:spChg>
        <pc:spChg chg="add mod">
          <ac:chgData name="Koudelka, Matt" userId="67237109-5853-4711-8261-4d29215914f4" providerId="ADAL" clId="{C1C0FC65-B641-4F94-8062-92A73CA092D2}" dt="2025-10-20T17:34:35.315" v="263"/>
          <ac:spMkLst>
            <pc:docMk/>
            <pc:sldMk cId="418558852" sldId="2147483526"/>
            <ac:spMk id="19" creationId="{B71AF463-82EA-E9E4-EC83-BCB9901E76C2}"/>
          </ac:spMkLst>
        </pc:spChg>
        <pc:spChg chg="add mod">
          <ac:chgData name="Koudelka, Matt" userId="67237109-5853-4711-8261-4d29215914f4" providerId="ADAL" clId="{C1C0FC65-B641-4F94-8062-92A73CA092D2}" dt="2025-10-20T17:34:35.315" v="263"/>
          <ac:spMkLst>
            <pc:docMk/>
            <pc:sldMk cId="418558852" sldId="2147483526"/>
            <ac:spMk id="24" creationId="{83427C1F-3CC7-8D97-EDD7-217EB0C14A55}"/>
          </ac:spMkLst>
        </pc:spChg>
        <pc:spChg chg="add mod">
          <ac:chgData name="Koudelka, Matt" userId="67237109-5853-4711-8261-4d29215914f4" providerId="ADAL" clId="{C1C0FC65-B641-4F94-8062-92A73CA092D2}" dt="2025-10-20T17:34:35.315" v="263"/>
          <ac:spMkLst>
            <pc:docMk/>
            <pc:sldMk cId="418558852" sldId="2147483526"/>
            <ac:spMk id="28" creationId="{11C5DA40-3A6B-3CEC-4140-6EE10D1B24C9}"/>
          </ac:spMkLst>
        </pc:spChg>
        <pc:spChg chg="add mod">
          <ac:chgData name="Koudelka, Matt" userId="67237109-5853-4711-8261-4d29215914f4" providerId="ADAL" clId="{C1C0FC65-B641-4F94-8062-92A73CA092D2}" dt="2025-10-20T17:34:35.315" v="263"/>
          <ac:spMkLst>
            <pc:docMk/>
            <pc:sldMk cId="418558852" sldId="2147483526"/>
            <ac:spMk id="32" creationId="{86343AD2-5EE4-BD37-F2BA-7656067B2E81}"/>
          </ac:spMkLst>
        </pc:spChg>
        <pc:spChg chg="add mod">
          <ac:chgData name="Koudelka, Matt" userId="67237109-5853-4711-8261-4d29215914f4" providerId="ADAL" clId="{C1C0FC65-B641-4F94-8062-92A73CA092D2}" dt="2025-10-20T17:34:35.315" v="263"/>
          <ac:spMkLst>
            <pc:docMk/>
            <pc:sldMk cId="418558852" sldId="2147483526"/>
            <ac:spMk id="57" creationId="{07AA2EEA-A349-DA10-3355-C46F06972B68}"/>
          </ac:spMkLst>
        </pc:spChg>
        <pc:spChg chg="add mod">
          <ac:chgData name="Koudelka, Matt" userId="67237109-5853-4711-8261-4d29215914f4" providerId="ADAL" clId="{C1C0FC65-B641-4F94-8062-92A73CA092D2}" dt="2025-10-21T18:00:24.227" v="3746" actId="1076"/>
          <ac:spMkLst>
            <pc:docMk/>
            <pc:sldMk cId="418558852" sldId="2147483526"/>
            <ac:spMk id="61" creationId="{E26C728D-493F-7377-8BEB-DE8DD4BB1876}"/>
          </ac:spMkLst>
        </pc:spChg>
        <pc:spChg chg="mod">
          <ac:chgData name="Koudelka, Matt" userId="67237109-5853-4711-8261-4d29215914f4" providerId="ADAL" clId="{C1C0FC65-B641-4F94-8062-92A73CA092D2}" dt="2025-10-21T18:00:24.227" v="3746" actId="1076"/>
          <ac:spMkLst>
            <pc:docMk/>
            <pc:sldMk cId="418558852" sldId="2147483526"/>
            <ac:spMk id="62" creationId="{A74F0899-D651-31E8-80A4-7B1053B3E16D}"/>
          </ac:spMkLst>
        </pc:spChg>
        <pc:spChg chg="add mod">
          <ac:chgData name="Koudelka, Matt" userId="67237109-5853-4711-8261-4d29215914f4" providerId="ADAL" clId="{C1C0FC65-B641-4F94-8062-92A73CA092D2}" dt="2025-10-21T18:00:24.227" v="3746" actId="1076"/>
          <ac:spMkLst>
            <pc:docMk/>
            <pc:sldMk cId="418558852" sldId="2147483526"/>
            <ac:spMk id="63" creationId="{C9BE841C-18B3-A72E-6A3E-659EC71D8CAB}"/>
          </ac:spMkLst>
        </pc:spChg>
        <pc:grpChg chg="mod">
          <ac:chgData name="Koudelka, Matt" userId="67237109-5853-4711-8261-4d29215914f4" providerId="ADAL" clId="{C1C0FC65-B641-4F94-8062-92A73CA092D2}" dt="2025-10-20T17:35:14.087" v="265" actId="1076"/>
          <ac:grpSpMkLst>
            <pc:docMk/>
            <pc:sldMk cId="418558852" sldId="2147483526"/>
            <ac:grpSpMk id="8" creationId="{3D577205-901C-7957-2FD8-8CAD2990A38F}"/>
          </ac:grpSpMkLst>
        </pc:grpChg>
        <pc:graphicFrameChg chg="mod modGraphic">
          <ac:chgData name="Koudelka, Matt" userId="67237109-5853-4711-8261-4d29215914f4" providerId="ADAL" clId="{C1C0FC65-B641-4F94-8062-92A73CA092D2}" dt="2025-10-21T18:00:05.122" v="3745" actId="1076"/>
          <ac:graphicFrameMkLst>
            <pc:docMk/>
            <pc:sldMk cId="418558852" sldId="2147483526"/>
            <ac:graphicFrameMk id="58" creationId="{674972FC-3CEE-F5E7-B882-85E0F63D5C6E}"/>
          </ac:graphicFrameMkLst>
        </pc:graphicFrameChg>
        <pc:graphicFrameChg chg="mod">
          <ac:chgData name="Koudelka, Matt" userId="67237109-5853-4711-8261-4d29215914f4" providerId="ADAL" clId="{C1C0FC65-B641-4F94-8062-92A73CA092D2}" dt="2025-10-21T18:00:24.227" v="3746" actId="1076"/>
          <ac:graphicFrameMkLst>
            <pc:docMk/>
            <pc:sldMk cId="418558852" sldId="2147483526"/>
            <ac:graphicFrameMk id="64" creationId="{0E08D658-2EDF-AACD-5943-6E55FB524A9F}"/>
          </ac:graphicFrameMkLst>
        </pc:graphicFrameChg>
      </pc:sldChg>
      <pc:sldChg chg="addSp delSp modSp add mod ord modShow">
        <pc:chgData name="Koudelka, Matt" userId="67237109-5853-4711-8261-4d29215914f4" providerId="ADAL" clId="{C1C0FC65-B641-4F94-8062-92A73CA092D2}" dt="2025-10-22T20:01:17.308" v="6210"/>
        <pc:sldMkLst>
          <pc:docMk/>
          <pc:sldMk cId="164222968" sldId="2147483527"/>
        </pc:sldMkLst>
        <pc:spChg chg="mod">
          <ac:chgData name="Koudelka, Matt" userId="67237109-5853-4711-8261-4d29215914f4" providerId="ADAL" clId="{C1C0FC65-B641-4F94-8062-92A73CA092D2}" dt="2025-10-21T14:18:33.085" v="1242" actId="20577"/>
          <ac:spMkLst>
            <pc:docMk/>
            <pc:sldMk cId="164222968" sldId="2147483527"/>
            <ac:spMk id="2" creationId="{3B82B119-5E7B-C9CF-08F6-E62748F6A085}"/>
          </ac:spMkLst>
        </pc:spChg>
        <pc:spChg chg="mod">
          <ac:chgData name="Koudelka, Matt" userId="67237109-5853-4711-8261-4d29215914f4" providerId="ADAL" clId="{C1C0FC65-B641-4F94-8062-92A73CA092D2}" dt="2025-10-21T14:23:36.544" v="1843" actId="20577"/>
          <ac:spMkLst>
            <pc:docMk/>
            <pc:sldMk cId="164222968" sldId="2147483527"/>
            <ac:spMk id="7" creationId="{B8CA362A-3E95-6A95-80BB-6F1D6170712E}"/>
          </ac:spMkLst>
        </pc:spChg>
        <pc:spChg chg="mod">
          <ac:chgData name="Koudelka, Matt" userId="67237109-5853-4711-8261-4d29215914f4" providerId="ADAL" clId="{C1C0FC65-B641-4F94-8062-92A73CA092D2}" dt="2025-10-21T14:27:36.792" v="2106" actId="20577"/>
          <ac:spMkLst>
            <pc:docMk/>
            <pc:sldMk cId="164222968" sldId="2147483527"/>
            <ac:spMk id="10" creationId="{A8BAD6FA-C267-5E4E-BB9D-0C569567A44B}"/>
          </ac:spMkLst>
        </pc:spChg>
        <pc:spChg chg="mod">
          <ac:chgData name="Koudelka, Matt" userId="67237109-5853-4711-8261-4d29215914f4" providerId="ADAL" clId="{C1C0FC65-B641-4F94-8062-92A73CA092D2}" dt="2025-10-21T14:21:06.126" v="1473" actId="20577"/>
          <ac:spMkLst>
            <pc:docMk/>
            <pc:sldMk cId="164222968" sldId="2147483527"/>
            <ac:spMk id="11" creationId="{C1520D6A-9CCD-AFA7-2B1C-8EAEF363C58B}"/>
          </ac:spMkLst>
        </pc:spChg>
        <pc:spChg chg="mod">
          <ac:chgData name="Koudelka, Matt" userId="67237109-5853-4711-8261-4d29215914f4" providerId="ADAL" clId="{C1C0FC65-B641-4F94-8062-92A73CA092D2}" dt="2025-10-21T14:26:44.974" v="2087" actId="20577"/>
          <ac:spMkLst>
            <pc:docMk/>
            <pc:sldMk cId="164222968" sldId="2147483527"/>
            <ac:spMk id="17" creationId="{233F4E6B-B602-F548-A075-59DBD1B14993}"/>
          </ac:spMkLst>
        </pc:spChg>
        <pc:spChg chg="add mod">
          <ac:chgData name="Koudelka, Matt" userId="67237109-5853-4711-8261-4d29215914f4" providerId="ADAL" clId="{C1C0FC65-B641-4F94-8062-92A73CA092D2}" dt="2025-10-21T14:27:08.392" v="2089" actId="1076"/>
          <ac:spMkLst>
            <pc:docMk/>
            <pc:sldMk cId="164222968" sldId="2147483527"/>
            <ac:spMk id="21" creationId="{B91494FD-4D4F-FAE2-4C0D-4F09FDF6409E}"/>
          </ac:spMkLst>
        </pc:spChg>
        <pc:spChg chg="add mod">
          <ac:chgData name="Koudelka, Matt" userId="67237109-5853-4711-8261-4d29215914f4" providerId="ADAL" clId="{C1C0FC65-B641-4F94-8062-92A73CA092D2}" dt="2025-10-21T14:28:29.952" v="2203" actId="20577"/>
          <ac:spMkLst>
            <pc:docMk/>
            <pc:sldMk cId="164222968" sldId="2147483527"/>
            <ac:spMk id="22" creationId="{EC32E469-7CAC-D9D8-96C2-9C56CA7D3704}"/>
          </ac:spMkLst>
        </pc:spChg>
        <pc:spChg chg="add mod">
          <ac:chgData name="Koudelka, Matt" userId="67237109-5853-4711-8261-4d29215914f4" providerId="ADAL" clId="{C1C0FC65-B641-4F94-8062-92A73CA092D2}" dt="2025-10-21T14:27:58.787" v="2149" actId="20577"/>
          <ac:spMkLst>
            <pc:docMk/>
            <pc:sldMk cId="164222968" sldId="2147483527"/>
            <ac:spMk id="23" creationId="{9D11F791-1C3B-6F6F-4875-0E08E6EBC6AF}"/>
          </ac:spMkLst>
        </pc:spChg>
        <pc:spChg chg="add mod">
          <ac:chgData name="Koudelka, Matt" userId="67237109-5853-4711-8261-4d29215914f4" providerId="ADAL" clId="{C1C0FC65-B641-4F94-8062-92A73CA092D2}" dt="2025-10-21T14:28:43.202" v="2205" actId="1076"/>
          <ac:spMkLst>
            <pc:docMk/>
            <pc:sldMk cId="164222968" sldId="2147483527"/>
            <ac:spMk id="24" creationId="{FA6E6008-9BB6-56B0-2542-7B4216D0BF7A}"/>
          </ac:spMkLst>
        </pc:spChg>
        <pc:spChg chg="add mod">
          <ac:chgData name="Koudelka, Matt" userId="67237109-5853-4711-8261-4d29215914f4" providerId="ADAL" clId="{C1C0FC65-B641-4F94-8062-92A73CA092D2}" dt="2025-10-21T18:06:18.822" v="3747" actId="20577"/>
          <ac:spMkLst>
            <pc:docMk/>
            <pc:sldMk cId="164222968" sldId="2147483527"/>
            <ac:spMk id="25" creationId="{A8B1C0BD-E87D-872C-D245-8B04AC857575}"/>
          </ac:spMkLst>
        </pc:spChg>
        <pc:spChg chg="add mod">
          <ac:chgData name="Koudelka, Matt" userId="67237109-5853-4711-8261-4d29215914f4" providerId="ADAL" clId="{C1C0FC65-B641-4F94-8062-92A73CA092D2}" dt="2025-10-21T14:30:01.437" v="2324" actId="1076"/>
          <ac:spMkLst>
            <pc:docMk/>
            <pc:sldMk cId="164222968" sldId="2147483527"/>
            <ac:spMk id="26" creationId="{A1A02FF4-BE5A-2B3C-3B6C-518DA247EB6D}"/>
          </ac:spMkLst>
        </pc:spChg>
      </pc:sldChg>
      <pc:sldChg chg="addSp delSp modSp add del mod">
        <pc:chgData name="Koudelka, Matt" userId="67237109-5853-4711-8261-4d29215914f4" providerId="ADAL" clId="{C1C0FC65-B641-4F94-8062-92A73CA092D2}" dt="2025-10-21T17:00:24.443" v="3374" actId="47"/>
        <pc:sldMkLst>
          <pc:docMk/>
          <pc:sldMk cId="4180935394" sldId="2147483528"/>
        </pc:sldMkLst>
      </pc:sldChg>
      <pc:sldChg chg="addSp delSp modSp mod ord">
        <pc:chgData name="Koudelka, Matt" userId="67237109-5853-4711-8261-4d29215914f4" providerId="ADAL" clId="{C1C0FC65-B641-4F94-8062-92A73CA092D2}" dt="2025-10-23T20:23:31.133" v="8669" actId="2711"/>
        <pc:sldMkLst>
          <pc:docMk/>
          <pc:sldMk cId="2584062419" sldId="2147483529"/>
        </pc:sldMkLst>
        <pc:spChg chg="mod">
          <ac:chgData name="Koudelka, Matt" userId="67237109-5853-4711-8261-4d29215914f4" providerId="ADAL" clId="{C1C0FC65-B641-4F94-8062-92A73CA092D2}" dt="2025-10-23T20:23:24.438" v="8668" actId="2711"/>
          <ac:spMkLst>
            <pc:docMk/>
            <pc:sldMk cId="2584062419" sldId="2147483529"/>
            <ac:spMk id="2" creationId="{A38437B0-B0B8-1DD6-8078-AE8CF326EDDA}"/>
          </ac:spMkLst>
        </pc:spChg>
        <pc:spChg chg="mod">
          <ac:chgData name="Koudelka, Matt" userId="67237109-5853-4711-8261-4d29215914f4" providerId="ADAL" clId="{C1C0FC65-B641-4F94-8062-92A73CA092D2}" dt="2025-10-23T20:15:39.566" v="8372" actId="1035"/>
          <ac:spMkLst>
            <pc:docMk/>
            <pc:sldMk cId="2584062419" sldId="2147483529"/>
            <ac:spMk id="7" creationId="{E2CA1D53-DE69-7D77-A62B-F1163E021C73}"/>
          </ac:spMkLst>
        </pc:spChg>
        <pc:spChg chg="add del mod">
          <ac:chgData name="Koudelka, Matt" userId="67237109-5853-4711-8261-4d29215914f4" providerId="ADAL" clId="{C1C0FC65-B641-4F94-8062-92A73CA092D2}" dt="2025-10-23T20:00:06.305" v="8112" actId="478"/>
          <ac:spMkLst>
            <pc:docMk/>
            <pc:sldMk cId="2584062419" sldId="2147483529"/>
            <ac:spMk id="9" creationId="{9C87D3AF-AC7B-4A8A-E0F5-35CE7C8FF263}"/>
          </ac:spMkLst>
        </pc:spChg>
        <pc:spChg chg="mod">
          <ac:chgData name="Koudelka, Matt" userId="67237109-5853-4711-8261-4d29215914f4" providerId="ADAL" clId="{C1C0FC65-B641-4F94-8062-92A73CA092D2}" dt="2025-10-23T20:14:53.575" v="8357" actId="2711"/>
          <ac:spMkLst>
            <pc:docMk/>
            <pc:sldMk cId="2584062419" sldId="2147483529"/>
            <ac:spMk id="10" creationId="{4C79EAEB-74F0-F18A-6547-298F3162CAEC}"/>
          </ac:spMkLst>
        </pc:spChg>
        <pc:spChg chg="mod">
          <ac:chgData name="Koudelka, Matt" userId="67237109-5853-4711-8261-4d29215914f4" providerId="ADAL" clId="{C1C0FC65-B641-4F94-8062-92A73CA092D2}" dt="2025-10-23T20:15:00.522" v="8358" actId="2711"/>
          <ac:spMkLst>
            <pc:docMk/>
            <pc:sldMk cId="2584062419" sldId="2147483529"/>
            <ac:spMk id="11" creationId="{30406628-5B77-5DB1-D874-0220BCF4419F}"/>
          </ac:spMkLst>
        </pc:spChg>
        <pc:spChg chg="mod">
          <ac:chgData name="Koudelka, Matt" userId="67237109-5853-4711-8261-4d29215914f4" providerId="ADAL" clId="{C1C0FC65-B641-4F94-8062-92A73CA092D2}" dt="2025-10-23T20:15:35.871" v="8367" actId="1035"/>
          <ac:spMkLst>
            <pc:docMk/>
            <pc:sldMk cId="2584062419" sldId="2147483529"/>
            <ac:spMk id="17" creationId="{EDB73775-3869-6200-4FC2-5E7387C92219}"/>
          </ac:spMkLst>
        </pc:spChg>
        <pc:spChg chg="mod">
          <ac:chgData name="Koudelka, Matt" userId="67237109-5853-4711-8261-4d29215914f4" providerId="ADAL" clId="{C1C0FC65-B641-4F94-8062-92A73CA092D2}" dt="2025-10-23T20:23:31.133" v="8669" actId="2711"/>
          <ac:spMkLst>
            <pc:docMk/>
            <pc:sldMk cId="2584062419" sldId="2147483529"/>
            <ac:spMk id="19" creationId="{5E8EC867-1096-7FBB-0B40-30D0055CC4A1}"/>
          </ac:spMkLst>
        </pc:spChg>
      </pc:sldChg>
      <pc:sldChg chg="addSp delSp modSp add mod">
        <pc:chgData name="Koudelka, Matt" userId="67237109-5853-4711-8261-4d29215914f4" providerId="ADAL" clId="{C1C0FC65-B641-4F94-8062-92A73CA092D2}" dt="2025-10-23T20:22:55.183" v="8665" actId="2711"/>
        <pc:sldMkLst>
          <pc:docMk/>
          <pc:sldMk cId="17551018" sldId="2147483530"/>
        </pc:sldMkLst>
        <pc:spChg chg="mod">
          <ac:chgData name="Koudelka, Matt" userId="67237109-5853-4711-8261-4d29215914f4" providerId="ADAL" clId="{C1C0FC65-B641-4F94-8062-92A73CA092D2}" dt="2025-10-23T20:22:46.360" v="8664" actId="2711"/>
          <ac:spMkLst>
            <pc:docMk/>
            <pc:sldMk cId="17551018" sldId="2147483530"/>
            <ac:spMk id="3" creationId="{C8421B59-3A9B-E86E-E98D-77F1EE6E69BE}"/>
          </ac:spMkLst>
        </pc:spChg>
        <pc:spChg chg="add del mod">
          <ac:chgData name="Koudelka, Matt" userId="67237109-5853-4711-8261-4d29215914f4" providerId="ADAL" clId="{C1C0FC65-B641-4F94-8062-92A73CA092D2}" dt="2025-10-23T13:29:17.779" v="7338" actId="478"/>
          <ac:spMkLst>
            <pc:docMk/>
            <pc:sldMk cId="17551018" sldId="2147483530"/>
            <ac:spMk id="4" creationId="{69182830-1864-E4ED-4C82-D34C536DCE9D}"/>
          </ac:spMkLst>
        </pc:spChg>
        <pc:spChg chg="mod">
          <ac:chgData name="Koudelka, Matt" userId="67237109-5853-4711-8261-4d29215914f4" providerId="ADAL" clId="{C1C0FC65-B641-4F94-8062-92A73CA092D2}" dt="2025-10-23T20:22:55.183" v="8665" actId="2711"/>
          <ac:spMkLst>
            <pc:docMk/>
            <pc:sldMk cId="17551018" sldId="2147483530"/>
            <ac:spMk id="38" creationId="{D9E449D0-D435-BF2E-A44F-3426DFE87BCB}"/>
          </ac:spMkLst>
        </pc:spChg>
      </pc:sldChg>
      <pc:sldChg chg="addSp delSp modSp add del mod">
        <pc:chgData name="Koudelka, Matt" userId="67237109-5853-4711-8261-4d29215914f4" providerId="ADAL" clId="{C1C0FC65-B641-4F94-8062-92A73CA092D2}" dt="2025-10-22T21:07:16.292" v="6348" actId="47"/>
        <pc:sldMkLst>
          <pc:docMk/>
          <pc:sldMk cId="3417582823" sldId="2147483531"/>
        </pc:sldMkLst>
        <pc:spChg chg="add mod">
          <ac:chgData name="Koudelka, Matt" userId="67237109-5853-4711-8261-4d29215914f4" providerId="ADAL" clId="{C1C0FC65-B641-4F94-8062-92A73CA092D2}" dt="2025-10-22T13:14:36.684" v="6157" actId="20577"/>
          <ac:spMkLst>
            <pc:docMk/>
            <pc:sldMk cId="3417582823" sldId="2147483531"/>
            <ac:spMk id="4" creationId="{AAF09B09-5463-8ADE-D411-7E0073DB67CF}"/>
          </ac:spMkLst>
        </pc:spChg>
      </pc:sldChg>
      <pc:sldChg chg="delSp modSp add mod ord modShow">
        <pc:chgData name="Koudelka, Matt" userId="67237109-5853-4711-8261-4d29215914f4" providerId="ADAL" clId="{C1C0FC65-B641-4F94-8062-92A73CA092D2}" dt="2025-10-23T17:19:47.204" v="7468" actId="729"/>
        <pc:sldMkLst>
          <pc:docMk/>
          <pc:sldMk cId="19646095" sldId="2147483532"/>
        </pc:sldMkLst>
      </pc:sldChg>
      <pc:sldChg chg="addSp modSp add del mod">
        <pc:chgData name="Koudelka, Matt" userId="67237109-5853-4711-8261-4d29215914f4" providerId="ADAL" clId="{C1C0FC65-B641-4F94-8062-92A73CA092D2}" dt="2025-10-23T20:00:47.588" v="8115" actId="47"/>
        <pc:sldMkLst>
          <pc:docMk/>
          <pc:sldMk cId="1653835225" sldId="2147483533"/>
        </pc:sldMkLst>
        <pc:spChg chg="add mod">
          <ac:chgData name="Koudelka, Matt" userId="67237109-5853-4711-8261-4d29215914f4" providerId="ADAL" clId="{C1C0FC65-B641-4F94-8062-92A73CA092D2}" dt="2025-10-22T13:10:18.319" v="6013" actId="20577"/>
          <ac:spMkLst>
            <pc:docMk/>
            <pc:sldMk cId="1653835225" sldId="2147483533"/>
            <ac:spMk id="3" creationId="{DB3AD2A5-C9AA-193E-BC86-C92E2282AA0E}"/>
          </ac:spMkLst>
        </pc:spChg>
      </pc:sldChg>
      <pc:sldChg chg="addSp modSp add mod ord">
        <pc:chgData name="Koudelka, Matt" userId="67237109-5853-4711-8261-4d29215914f4" providerId="ADAL" clId="{C1C0FC65-B641-4F94-8062-92A73CA092D2}" dt="2025-10-23T20:24:38.422" v="8678" actId="2711"/>
        <pc:sldMkLst>
          <pc:docMk/>
          <pc:sldMk cId="2579967293" sldId="2147483534"/>
        </pc:sldMkLst>
        <pc:spChg chg="mod">
          <ac:chgData name="Koudelka, Matt" userId="67237109-5853-4711-8261-4d29215914f4" providerId="ADAL" clId="{C1C0FC65-B641-4F94-8062-92A73CA092D2}" dt="2025-10-23T20:24:38.422" v="8678" actId="2711"/>
          <ac:spMkLst>
            <pc:docMk/>
            <pc:sldMk cId="2579967293" sldId="2147483534"/>
            <ac:spMk id="2" creationId="{7B97641D-D140-CE0F-EEF2-4EBDF180E5DA}"/>
          </ac:spMkLst>
        </pc:spChg>
        <pc:spChg chg="mod">
          <ac:chgData name="Koudelka, Matt" userId="67237109-5853-4711-8261-4d29215914f4" providerId="ADAL" clId="{C1C0FC65-B641-4F94-8062-92A73CA092D2}" dt="2025-10-23T20:24:33.184" v="8677" actId="2711"/>
          <ac:spMkLst>
            <pc:docMk/>
            <pc:sldMk cId="2579967293" sldId="2147483534"/>
            <ac:spMk id="3" creationId="{2855C8B5-3E22-1FA7-E692-49EB52B511EC}"/>
          </ac:spMkLst>
        </pc:spChg>
        <pc:spChg chg="add mod ord">
          <ac:chgData name="Koudelka, Matt" userId="67237109-5853-4711-8261-4d29215914f4" providerId="ADAL" clId="{C1C0FC65-B641-4F94-8062-92A73CA092D2}" dt="2025-10-23T20:08:09.241" v="8162" actId="207"/>
          <ac:spMkLst>
            <pc:docMk/>
            <pc:sldMk cId="2579967293" sldId="2147483534"/>
            <ac:spMk id="4" creationId="{DC45061E-B3C5-2D0F-322E-7FBEBBC2315D}"/>
          </ac:spMkLst>
        </pc:spChg>
        <pc:spChg chg="mod">
          <ac:chgData name="Koudelka, Matt" userId="67237109-5853-4711-8261-4d29215914f4" providerId="ADAL" clId="{C1C0FC65-B641-4F94-8062-92A73CA092D2}" dt="2025-10-23T19:58:13.884" v="8109" actId="20577"/>
          <ac:spMkLst>
            <pc:docMk/>
            <pc:sldMk cId="2579967293" sldId="2147483534"/>
            <ac:spMk id="7" creationId="{1CB4AE0C-C505-77ED-3960-DE237AE4D2EA}"/>
          </ac:spMkLst>
        </pc:spChg>
        <pc:graphicFrameChg chg="modGraphic">
          <ac:chgData name="Koudelka, Matt" userId="67237109-5853-4711-8261-4d29215914f4" providerId="ADAL" clId="{C1C0FC65-B641-4F94-8062-92A73CA092D2}" dt="2025-10-22T23:41:05.136" v="6866" actId="20577"/>
          <ac:graphicFrameMkLst>
            <pc:docMk/>
            <pc:sldMk cId="2579967293" sldId="2147483534"/>
            <ac:graphicFrameMk id="6" creationId="{A4A3FA6E-5B83-2AB2-E7EE-74277D4DA703}"/>
          </ac:graphicFrameMkLst>
        </pc:graphicFrameChg>
      </pc:sldChg>
      <pc:sldChg chg="addSp delSp modSp add mod">
        <pc:chgData name="Koudelka, Matt" userId="67237109-5853-4711-8261-4d29215914f4" providerId="ADAL" clId="{C1C0FC65-B641-4F94-8062-92A73CA092D2}" dt="2025-10-23T20:25:03.240" v="8681" actId="2711"/>
        <pc:sldMkLst>
          <pc:docMk/>
          <pc:sldMk cId="3911131713" sldId="2147483535"/>
        </pc:sldMkLst>
        <pc:spChg chg="mod">
          <ac:chgData name="Koudelka, Matt" userId="67237109-5853-4711-8261-4d29215914f4" providerId="ADAL" clId="{C1C0FC65-B641-4F94-8062-92A73CA092D2}" dt="2025-10-23T20:25:03.240" v="8681" actId="2711"/>
          <ac:spMkLst>
            <pc:docMk/>
            <pc:sldMk cId="3911131713" sldId="2147483535"/>
            <ac:spMk id="2" creationId="{8A0E6C1E-81AB-EB91-5FCB-0561B062C314}"/>
          </ac:spMkLst>
        </pc:spChg>
        <pc:spChg chg="mod">
          <ac:chgData name="Koudelka, Matt" userId="67237109-5853-4711-8261-4d29215914f4" providerId="ADAL" clId="{C1C0FC65-B641-4F94-8062-92A73CA092D2}" dt="2025-10-23T20:24:56.180" v="8680" actId="2711"/>
          <ac:spMkLst>
            <pc:docMk/>
            <pc:sldMk cId="3911131713" sldId="2147483535"/>
            <ac:spMk id="3" creationId="{7622F4DE-98BB-44DC-AAE0-BD61A1337634}"/>
          </ac:spMkLst>
        </pc:spChg>
        <pc:spChg chg="del">
          <ac:chgData name="Koudelka, Matt" userId="67237109-5853-4711-8261-4d29215914f4" providerId="ADAL" clId="{C1C0FC65-B641-4F94-8062-92A73CA092D2}" dt="2025-10-22T21:06:30.764" v="6339" actId="478"/>
          <ac:spMkLst>
            <pc:docMk/>
            <pc:sldMk cId="3911131713" sldId="2147483535"/>
            <ac:spMk id="4" creationId="{ECEAC281-00FE-D318-F244-0D0AB2EA17AC}"/>
          </ac:spMkLst>
        </pc:spChg>
        <pc:spChg chg="del">
          <ac:chgData name="Koudelka, Matt" userId="67237109-5853-4711-8261-4d29215914f4" providerId="ADAL" clId="{C1C0FC65-B641-4F94-8062-92A73CA092D2}" dt="2025-10-22T21:03:29.903" v="6215" actId="478"/>
          <ac:spMkLst>
            <pc:docMk/>
            <pc:sldMk cId="3911131713" sldId="2147483535"/>
            <ac:spMk id="9" creationId="{B78AD193-5300-4F62-BBB5-E596B9D1028E}"/>
          </ac:spMkLst>
        </pc:spChg>
        <pc:spChg chg="del">
          <ac:chgData name="Koudelka, Matt" userId="67237109-5853-4711-8261-4d29215914f4" providerId="ADAL" clId="{C1C0FC65-B641-4F94-8062-92A73CA092D2}" dt="2025-10-22T21:03:31.127" v="6216" actId="478"/>
          <ac:spMkLst>
            <pc:docMk/>
            <pc:sldMk cId="3911131713" sldId="2147483535"/>
            <ac:spMk id="10" creationId="{C5F4949D-0288-02B4-B91F-2C8893A1CA0E}"/>
          </ac:spMkLst>
        </pc:spChg>
        <pc:spChg chg="del">
          <ac:chgData name="Koudelka, Matt" userId="67237109-5853-4711-8261-4d29215914f4" providerId="ADAL" clId="{C1C0FC65-B641-4F94-8062-92A73CA092D2}" dt="2025-10-22T21:03:29.903" v="6215" actId="478"/>
          <ac:spMkLst>
            <pc:docMk/>
            <pc:sldMk cId="3911131713" sldId="2147483535"/>
            <ac:spMk id="11" creationId="{D87169BD-E51C-B70F-43DB-0A023EB7B5ED}"/>
          </ac:spMkLst>
        </pc:spChg>
        <pc:spChg chg="del">
          <ac:chgData name="Koudelka, Matt" userId="67237109-5853-4711-8261-4d29215914f4" providerId="ADAL" clId="{C1C0FC65-B641-4F94-8062-92A73CA092D2}" dt="2025-10-22T21:03:29.903" v="6215" actId="478"/>
          <ac:spMkLst>
            <pc:docMk/>
            <pc:sldMk cId="3911131713" sldId="2147483535"/>
            <ac:spMk id="13" creationId="{4933408D-D8D4-BD85-7E20-5E4FE9404BDE}"/>
          </ac:spMkLst>
        </pc:spChg>
        <pc:spChg chg="del">
          <ac:chgData name="Koudelka, Matt" userId="67237109-5853-4711-8261-4d29215914f4" providerId="ADAL" clId="{C1C0FC65-B641-4F94-8062-92A73CA092D2}" dt="2025-10-22T21:03:29.903" v="6215" actId="478"/>
          <ac:spMkLst>
            <pc:docMk/>
            <pc:sldMk cId="3911131713" sldId="2147483535"/>
            <ac:spMk id="14" creationId="{A504C41C-ABDB-789A-23D6-4FEF7A5D8E82}"/>
          </ac:spMkLst>
        </pc:spChg>
        <pc:spChg chg="del">
          <ac:chgData name="Koudelka, Matt" userId="67237109-5853-4711-8261-4d29215914f4" providerId="ADAL" clId="{C1C0FC65-B641-4F94-8062-92A73CA092D2}" dt="2025-10-22T21:03:29.903" v="6215" actId="478"/>
          <ac:spMkLst>
            <pc:docMk/>
            <pc:sldMk cId="3911131713" sldId="2147483535"/>
            <ac:spMk id="43" creationId="{F915B825-4DA8-9978-F0DC-5FECF23767EF}"/>
          </ac:spMkLst>
        </pc:spChg>
        <pc:graphicFrameChg chg="add mod modGraphic">
          <ac:chgData name="Koudelka, Matt" userId="67237109-5853-4711-8261-4d29215914f4" providerId="ADAL" clId="{C1C0FC65-B641-4F94-8062-92A73CA092D2}" dt="2025-10-23T20:17:34.165" v="8380" actId="403"/>
          <ac:graphicFrameMkLst>
            <pc:docMk/>
            <pc:sldMk cId="3911131713" sldId="2147483535"/>
            <ac:graphicFrameMk id="5" creationId="{C222C392-11CE-F1CF-6228-932132115B42}"/>
          </ac:graphicFrameMkLst>
        </pc:graphicFrameChg>
        <pc:cxnChg chg="del">
          <ac:chgData name="Koudelka, Matt" userId="67237109-5853-4711-8261-4d29215914f4" providerId="ADAL" clId="{C1C0FC65-B641-4F94-8062-92A73CA092D2}" dt="2025-10-22T21:03:29.903" v="6215" actId="478"/>
          <ac:cxnSpMkLst>
            <pc:docMk/>
            <pc:sldMk cId="3911131713" sldId="2147483535"/>
            <ac:cxnSpMk id="12" creationId="{07E8E372-688A-EABE-BA6F-ACFA66090A9E}"/>
          </ac:cxnSpMkLst>
        </pc:cxnChg>
      </pc:sldChg>
      <pc:sldChg chg="addSp delSp modSp add mod ord modShow">
        <pc:chgData name="Koudelka, Matt" userId="67237109-5853-4711-8261-4d29215914f4" providerId="ADAL" clId="{C1C0FC65-B641-4F94-8062-92A73CA092D2}" dt="2025-10-23T12:04:47.524" v="7318" actId="729"/>
        <pc:sldMkLst>
          <pc:docMk/>
          <pc:sldMk cId="49707934" sldId="2147483536"/>
        </pc:sldMkLst>
        <pc:spChg chg="del">
          <ac:chgData name="Koudelka, Matt" userId="67237109-5853-4711-8261-4d29215914f4" providerId="ADAL" clId="{C1C0FC65-B641-4F94-8062-92A73CA092D2}" dt="2025-10-22T23:22:17.928" v="6595" actId="478"/>
          <ac:spMkLst>
            <pc:docMk/>
            <pc:sldMk cId="49707934" sldId="2147483536"/>
            <ac:spMk id="3" creationId="{2667A529-9102-5746-05E4-09A7306C9C59}"/>
          </ac:spMkLst>
        </pc:spChg>
        <pc:spChg chg="add mod">
          <ac:chgData name="Koudelka, Matt" userId="67237109-5853-4711-8261-4d29215914f4" providerId="ADAL" clId="{C1C0FC65-B641-4F94-8062-92A73CA092D2}" dt="2025-10-22T22:33:42.840" v="6386" actId="208"/>
          <ac:spMkLst>
            <pc:docMk/>
            <pc:sldMk cId="49707934" sldId="2147483536"/>
            <ac:spMk id="4" creationId="{2E854DD9-0256-5D16-FD88-3C843D9925A8}"/>
          </ac:spMkLst>
        </pc:spChg>
        <pc:spChg chg="del">
          <ac:chgData name="Koudelka, Matt" userId="67237109-5853-4711-8261-4d29215914f4" providerId="ADAL" clId="{C1C0FC65-B641-4F94-8062-92A73CA092D2}" dt="2025-10-22T22:30:01.297" v="6362" actId="478"/>
          <ac:spMkLst>
            <pc:docMk/>
            <pc:sldMk cId="49707934" sldId="2147483536"/>
            <ac:spMk id="7" creationId="{B816EF64-9E2F-C320-BB7B-A7D7CEC4A18F}"/>
          </ac:spMkLst>
        </pc:spChg>
        <pc:spChg chg="del mod">
          <ac:chgData name="Koudelka, Matt" userId="67237109-5853-4711-8261-4d29215914f4" providerId="ADAL" clId="{C1C0FC65-B641-4F94-8062-92A73CA092D2}" dt="2025-10-22T23:03:25.762" v="6529"/>
          <ac:spMkLst>
            <pc:docMk/>
            <pc:sldMk cId="49707934" sldId="2147483536"/>
            <ac:spMk id="8" creationId="{D86924E4-236E-DDA0-1E6C-B995DE5E138B}"/>
          </ac:spMkLst>
        </pc:spChg>
        <pc:spChg chg="add mod">
          <ac:chgData name="Koudelka, Matt" userId="67237109-5853-4711-8261-4d29215914f4" providerId="ADAL" clId="{C1C0FC65-B641-4F94-8062-92A73CA092D2}" dt="2025-10-23T03:19:07.401" v="7314" actId="20577"/>
          <ac:spMkLst>
            <pc:docMk/>
            <pc:sldMk cId="49707934" sldId="2147483536"/>
            <ac:spMk id="9" creationId="{2B61C7BF-E96B-158B-5308-1C7DA5FC2069}"/>
          </ac:spMkLst>
        </pc:spChg>
        <pc:spChg chg="mod">
          <ac:chgData name="Koudelka, Matt" userId="67237109-5853-4711-8261-4d29215914f4" providerId="ADAL" clId="{C1C0FC65-B641-4F94-8062-92A73CA092D2}" dt="2025-10-22T22:34:12" v="6394" actId="207"/>
          <ac:spMkLst>
            <pc:docMk/>
            <pc:sldMk cId="49707934" sldId="2147483536"/>
            <ac:spMk id="11" creationId="{FE378EB1-26F5-6468-1C7A-0F17146F3178}"/>
          </ac:spMkLst>
        </pc:spChg>
        <pc:spChg chg="mod">
          <ac:chgData name="Koudelka, Matt" userId="67237109-5853-4711-8261-4d29215914f4" providerId="ADAL" clId="{C1C0FC65-B641-4F94-8062-92A73CA092D2}" dt="2025-10-22T22:34:14.624" v="6395" actId="207"/>
          <ac:spMkLst>
            <pc:docMk/>
            <pc:sldMk cId="49707934" sldId="2147483536"/>
            <ac:spMk id="13" creationId="{B47DAE40-D9B6-8C51-28B2-D2C8621EE966}"/>
          </ac:spMkLst>
        </pc:spChg>
        <pc:spChg chg="del mod">
          <ac:chgData name="Koudelka, Matt" userId="67237109-5853-4711-8261-4d29215914f4" providerId="ADAL" clId="{C1C0FC65-B641-4F94-8062-92A73CA092D2}" dt="2025-10-22T22:29:47.614" v="6360" actId="478"/>
          <ac:spMkLst>
            <pc:docMk/>
            <pc:sldMk cId="49707934" sldId="2147483536"/>
            <ac:spMk id="14" creationId="{ADE809BB-5DCB-450B-71DF-873C7F004368}"/>
          </ac:spMkLst>
        </pc:spChg>
        <pc:spChg chg="mod">
          <ac:chgData name="Koudelka, Matt" userId="67237109-5853-4711-8261-4d29215914f4" providerId="ADAL" clId="{C1C0FC65-B641-4F94-8062-92A73CA092D2}" dt="2025-10-22T22:34:01.111" v="6392" actId="207"/>
          <ac:spMkLst>
            <pc:docMk/>
            <pc:sldMk cId="49707934" sldId="2147483536"/>
            <ac:spMk id="15" creationId="{2B225D30-D9A9-84A3-4517-849A13F486D1}"/>
          </ac:spMkLst>
        </pc:spChg>
        <pc:spChg chg="mod">
          <ac:chgData name="Koudelka, Matt" userId="67237109-5853-4711-8261-4d29215914f4" providerId="ADAL" clId="{C1C0FC65-B641-4F94-8062-92A73CA092D2}" dt="2025-10-22T22:34:05.549" v="6393" actId="207"/>
          <ac:spMkLst>
            <pc:docMk/>
            <pc:sldMk cId="49707934" sldId="2147483536"/>
            <ac:spMk id="16" creationId="{1168AF72-07DD-C6B3-5233-A5D416CAC40C}"/>
          </ac:spMkLst>
        </pc:spChg>
        <pc:spChg chg="add mod">
          <ac:chgData name="Koudelka, Matt" userId="67237109-5853-4711-8261-4d29215914f4" providerId="ADAL" clId="{C1C0FC65-B641-4F94-8062-92A73CA092D2}" dt="2025-10-22T22:35:37.223" v="6413" actId="208"/>
          <ac:spMkLst>
            <pc:docMk/>
            <pc:sldMk cId="49707934" sldId="2147483536"/>
            <ac:spMk id="17" creationId="{26E8D366-EAA2-A1C7-EFB8-106E89CF611E}"/>
          </ac:spMkLst>
        </pc:spChg>
        <pc:spChg chg="del">
          <ac:chgData name="Koudelka, Matt" userId="67237109-5853-4711-8261-4d29215914f4" providerId="ADAL" clId="{C1C0FC65-B641-4F94-8062-92A73CA092D2}" dt="2025-10-22T22:29:41.008" v="6358" actId="478"/>
          <ac:spMkLst>
            <pc:docMk/>
            <pc:sldMk cId="49707934" sldId="2147483536"/>
            <ac:spMk id="18" creationId="{28844FE0-60B1-33BD-A196-DAB60BE281AC}"/>
          </ac:spMkLst>
        </pc:spChg>
        <pc:spChg chg="mod">
          <ac:chgData name="Koudelka, Matt" userId="67237109-5853-4711-8261-4d29215914f4" providerId="ADAL" clId="{C1C0FC65-B641-4F94-8062-92A73CA092D2}" dt="2025-10-22T22:35:25.937" v="6411" actId="207"/>
          <ac:spMkLst>
            <pc:docMk/>
            <pc:sldMk cId="49707934" sldId="2147483536"/>
            <ac:spMk id="20" creationId="{93360D92-4AF9-21F2-9503-F5A2E60ED42C}"/>
          </ac:spMkLst>
        </pc:spChg>
        <pc:spChg chg="mod">
          <ac:chgData name="Koudelka, Matt" userId="67237109-5853-4711-8261-4d29215914f4" providerId="ADAL" clId="{C1C0FC65-B641-4F94-8062-92A73CA092D2}" dt="2025-10-22T22:35:30.776" v="6412" actId="207"/>
          <ac:spMkLst>
            <pc:docMk/>
            <pc:sldMk cId="49707934" sldId="2147483536"/>
            <ac:spMk id="22" creationId="{EBE44F28-465A-F5F9-B21E-69BF27FAC2E1}"/>
          </ac:spMkLst>
        </pc:spChg>
        <pc:spChg chg="mod">
          <ac:chgData name="Koudelka, Matt" userId="67237109-5853-4711-8261-4d29215914f4" providerId="ADAL" clId="{C1C0FC65-B641-4F94-8062-92A73CA092D2}" dt="2025-10-22T22:29:49.612" v="6361"/>
          <ac:spMkLst>
            <pc:docMk/>
            <pc:sldMk cId="49707934" sldId="2147483536"/>
            <ac:spMk id="23" creationId="{778B314D-7415-71AF-07B5-409C8B1652E3}"/>
          </ac:spMkLst>
        </pc:spChg>
        <pc:spChg chg="del">
          <ac:chgData name="Koudelka, Matt" userId="67237109-5853-4711-8261-4d29215914f4" providerId="ADAL" clId="{C1C0FC65-B641-4F94-8062-92A73CA092D2}" dt="2025-10-22T22:29:41.008" v="6358" actId="478"/>
          <ac:spMkLst>
            <pc:docMk/>
            <pc:sldMk cId="49707934" sldId="2147483536"/>
            <ac:spMk id="24" creationId="{5622C091-6395-F3A5-5F0E-C8404EA6531F}"/>
          </ac:spMkLst>
        </pc:spChg>
        <pc:spChg chg="del">
          <ac:chgData name="Koudelka, Matt" userId="67237109-5853-4711-8261-4d29215914f4" providerId="ADAL" clId="{C1C0FC65-B641-4F94-8062-92A73CA092D2}" dt="2025-10-22T22:29:41.008" v="6358" actId="478"/>
          <ac:spMkLst>
            <pc:docMk/>
            <pc:sldMk cId="49707934" sldId="2147483536"/>
            <ac:spMk id="26" creationId="{F52932B8-A710-4397-D4B5-96919E11D1D8}"/>
          </ac:spMkLst>
        </pc:spChg>
        <pc:spChg chg="del">
          <ac:chgData name="Koudelka, Matt" userId="67237109-5853-4711-8261-4d29215914f4" providerId="ADAL" clId="{C1C0FC65-B641-4F94-8062-92A73CA092D2}" dt="2025-10-22T22:29:41.008" v="6358" actId="478"/>
          <ac:spMkLst>
            <pc:docMk/>
            <pc:sldMk cId="49707934" sldId="2147483536"/>
            <ac:spMk id="27" creationId="{A55BB8E3-481E-1841-4C70-223AABE10108}"/>
          </ac:spMkLst>
        </pc:spChg>
        <pc:spChg chg="add mod">
          <ac:chgData name="Koudelka, Matt" userId="67237109-5853-4711-8261-4d29215914f4" providerId="ADAL" clId="{C1C0FC65-B641-4F94-8062-92A73CA092D2}" dt="2025-10-22T23:11:42.851" v="6548" actId="20577"/>
          <ac:spMkLst>
            <pc:docMk/>
            <pc:sldMk cId="49707934" sldId="2147483536"/>
            <ac:spMk id="28" creationId="{87F4C2A9-06D7-717E-AB70-13CC680C4FE0}"/>
          </ac:spMkLst>
        </pc:spChg>
        <pc:spChg chg="add mod">
          <ac:chgData name="Koudelka, Matt" userId="67237109-5853-4711-8261-4d29215914f4" providerId="ADAL" clId="{C1C0FC65-B641-4F94-8062-92A73CA092D2}" dt="2025-10-22T22:52:47.638" v="6523" actId="208"/>
          <ac:spMkLst>
            <pc:docMk/>
            <pc:sldMk cId="49707934" sldId="2147483536"/>
            <ac:spMk id="29" creationId="{5E443397-4CD5-1D5D-FAA6-B99C9204177D}"/>
          </ac:spMkLst>
        </pc:spChg>
        <pc:spChg chg="mod">
          <ac:chgData name="Koudelka, Matt" userId="67237109-5853-4711-8261-4d29215914f4" providerId="ADAL" clId="{C1C0FC65-B641-4F94-8062-92A73CA092D2}" dt="2025-10-22T23:26:10.559" v="6622" actId="20577"/>
          <ac:spMkLst>
            <pc:docMk/>
            <pc:sldMk cId="49707934" sldId="2147483536"/>
            <ac:spMk id="33" creationId="{2BF26A7E-12AB-9F55-DE3A-8D8CEC2FAD1F}"/>
          </ac:spMkLst>
        </pc:spChg>
        <pc:spChg chg="mod">
          <ac:chgData name="Koudelka, Matt" userId="67237109-5853-4711-8261-4d29215914f4" providerId="ADAL" clId="{C1C0FC65-B641-4F94-8062-92A73CA092D2}" dt="2025-10-22T22:52:57.638" v="6525" actId="207"/>
          <ac:spMkLst>
            <pc:docMk/>
            <pc:sldMk cId="49707934" sldId="2147483536"/>
            <ac:spMk id="35" creationId="{2AF79683-E93F-8845-11CC-44BBACBE4092}"/>
          </ac:spMkLst>
        </pc:spChg>
        <pc:spChg chg="mod">
          <ac:chgData name="Koudelka, Matt" userId="67237109-5853-4711-8261-4d29215914f4" providerId="ADAL" clId="{C1C0FC65-B641-4F94-8062-92A73CA092D2}" dt="2025-10-22T22:29:49.612" v="6361"/>
          <ac:spMkLst>
            <pc:docMk/>
            <pc:sldMk cId="49707934" sldId="2147483536"/>
            <ac:spMk id="36" creationId="{413BBC28-9E57-1367-AAE4-3ECD319498B0}"/>
          </ac:spMkLst>
        </pc:spChg>
        <pc:spChg chg="add del mod">
          <ac:chgData name="Koudelka, Matt" userId="67237109-5853-4711-8261-4d29215914f4" providerId="ADAL" clId="{C1C0FC65-B641-4F94-8062-92A73CA092D2}" dt="2025-10-22T22:31:03.663" v="6374" actId="478"/>
          <ac:spMkLst>
            <pc:docMk/>
            <pc:sldMk cId="49707934" sldId="2147483536"/>
            <ac:spMk id="40" creationId="{2411937A-84A6-4643-9D67-9B2F5340A9DB}"/>
          </ac:spMkLst>
        </pc:spChg>
        <pc:spChg chg="add del mod">
          <ac:chgData name="Koudelka, Matt" userId="67237109-5853-4711-8261-4d29215914f4" providerId="ADAL" clId="{C1C0FC65-B641-4F94-8062-92A73CA092D2}" dt="2025-10-22T22:31:06.435" v="6375" actId="478"/>
          <ac:spMkLst>
            <pc:docMk/>
            <pc:sldMk cId="49707934" sldId="2147483536"/>
            <ac:spMk id="42" creationId="{4DD3D7D4-724B-3B3E-F981-F4D84D850E6C}"/>
          </ac:spMkLst>
        </pc:spChg>
        <pc:spChg chg="add mod">
          <ac:chgData name="Koudelka, Matt" userId="67237109-5853-4711-8261-4d29215914f4" providerId="ADAL" clId="{C1C0FC65-B641-4F94-8062-92A73CA092D2}" dt="2025-10-23T03:20:02.455" v="7315" actId="20577"/>
          <ac:spMkLst>
            <pc:docMk/>
            <pc:sldMk cId="49707934" sldId="2147483536"/>
            <ac:spMk id="43" creationId="{23F0E809-960D-4ACD-977F-FA6706373EA5}"/>
          </ac:spMkLst>
        </pc:spChg>
        <pc:grpChg chg="mod">
          <ac:chgData name="Koudelka, Matt" userId="67237109-5853-4711-8261-4d29215914f4" providerId="ADAL" clId="{C1C0FC65-B641-4F94-8062-92A73CA092D2}" dt="2025-10-22T22:34:01.111" v="6392" actId="207"/>
          <ac:grpSpMkLst>
            <pc:docMk/>
            <pc:sldMk cId="49707934" sldId="2147483536"/>
            <ac:grpSpMk id="10" creationId="{79480966-FD1A-A0E9-469A-B16805101443}"/>
          </ac:grpSpMkLst>
        </pc:grpChg>
        <pc:grpChg chg="mod">
          <ac:chgData name="Koudelka, Matt" userId="67237109-5853-4711-8261-4d29215914f4" providerId="ADAL" clId="{C1C0FC65-B641-4F94-8062-92A73CA092D2}" dt="2025-10-22T22:34:01.111" v="6392" actId="207"/>
          <ac:grpSpMkLst>
            <pc:docMk/>
            <pc:sldMk cId="49707934" sldId="2147483536"/>
            <ac:grpSpMk id="12" creationId="{E27FDFAA-C1DC-37AE-F174-B5A71B23A41A}"/>
          </ac:grpSpMkLst>
        </pc:grpChg>
        <pc:grpChg chg="mod">
          <ac:chgData name="Koudelka, Matt" userId="67237109-5853-4711-8261-4d29215914f4" providerId="ADAL" clId="{C1C0FC65-B641-4F94-8062-92A73CA092D2}" dt="2025-10-22T22:30:31.571" v="6373" actId="1035"/>
          <ac:grpSpMkLst>
            <pc:docMk/>
            <pc:sldMk cId="49707934" sldId="2147483536"/>
            <ac:grpSpMk id="19" creationId="{F9E25BF3-E302-61B9-1A07-A12BD69AC8A9}"/>
          </ac:grpSpMkLst>
        </pc:grpChg>
        <pc:grpChg chg="mod">
          <ac:chgData name="Koudelka, Matt" userId="67237109-5853-4711-8261-4d29215914f4" providerId="ADAL" clId="{C1C0FC65-B641-4F94-8062-92A73CA092D2}" dt="2025-10-22T22:30:31.571" v="6373" actId="1035"/>
          <ac:grpSpMkLst>
            <pc:docMk/>
            <pc:sldMk cId="49707934" sldId="2147483536"/>
            <ac:grpSpMk id="30" creationId="{EAFEF5BB-316B-CF21-7A84-1382C9D45C96}"/>
          </ac:grpSpMkLst>
        </pc:grpChg>
        <pc:graphicFrameChg chg="mod modGraphic">
          <ac:chgData name="Koudelka, Matt" userId="67237109-5853-4711-8261-4d29215914f4" providerId="ADAL" clId="{C1C0FC65-B641-4F94-8062-92A73CA092D2}" dt="2025-10-22T23:19:43.328" v="6592" actId="20577"/>
          <ac:graphicFrameMkLst>
            <pc:docMk/>
            <pc:sldMk cId="49707934" sldId="2147483536"/>
            <ac:graphicFrameMk id="37" creationId="{5FB9A5DE-E445-0970-D077-2BBCE6CEA1AA}"/>
          </ac:graphicFrameMkLst>
        </pc:graphicFrameChg>
        <pc:graphicFrameChg chg="del mod">
          <ac:chgData name="Koudelka, Matt" userId="67237109-5853-4711-8261-4d29215914f4" providerId="ADAL" clId="{C1C0FC65-B641-4F94-8062-92A73CA092D2}" dt="2025-10-22T22:33:06.344" v="6383" actId="478"/>
          <ac:graphicFrameMkLst>
            <pc:docMk/>
            <pc:sldMk cId="49707934" sldId="2147483536"/>
            <ac:graphicFrameMk id="38" creationId="{9C7442FD-63D7-D1CC-5DA5-D96CEE5EC7B0}"/>
          </ac:graphicFrameMkLst>
        </pc:graphicFrameChg>
      </pc:sldChg>
      <pc:sldChg chg="modSp mod">
        <pc:chgData name="Koudelka, Matt" userId="67237109-5853-4711-8261-4d29215914f4" providerId="ADAL" clId="{C1C0FC65-B641-4F94-8062-92A73CA092D2}" dt="2025-10-23T20:24:47.582" v="8679" actId="2711"/>
        <pc:sldMkLst>
          <pc:docMk/>
          <pc:sldMk cId="864601595" sldId="2147483537"/>
        </pc:sldMkLst>
        <pc:spChg chg="mod">
          <ac:chgData name="Koudelka, Matt" userId="67237109-5853-4711-8261-4d29215914f4" providerId="ADAL" clId="{C1C0FC65-B641-4F94-8062-92A73CA092D2}" dt="2025-10-23T20:24:47.582" v="8679" actId="2711"/>
          <ac:spMkLst>
            <pc:docMk/>
            <pc:sldMk cId="864601595" sldId="2147483537"/>
            <ac:spMk id="2" creationId="{541ADE24-6EE6-8EDC-788F-148A278D8ADF}"/>
          </ac:spMkLst>
        </pc:spChg>
        <pc:spChg chg="mod">
          <ac:chgData name="Koudelka, Matt" userId="67237109-5853-4711-8261-4d29215914f4" providerId="ADAL" clId="{C1C0FC65-B641-4F94-8062-92A73CA092D2}" dt="2025-10-23T20:16:41.266" v="8377" actId="2711"/>
          <ac:spMkLst>
            <pc:docMk/>
            <pc:sldMk cId="864601595" sldId="2147483537"/>
            <ac:spMk id="3" creationId="{1708778B-4B31-8C21-6339-9550B4883B13}"/>
          </ac:spMkLst>
        </pc:spChg>
        <pc:spChg chg="mod">
          <ac:chgData name="Koudelka, Matt" userId="67237109-5853-4711-8261-4d29215914f4" providerId="ADAL" clId="{C1C0FC65-B641-4F94-8062-92A73CA092D2}" dt="2025-10-23T20:16:06.896" v="8373" actId="2711"/>
          <ac:spMkLst>
            <pc:docMk/>
            <pc:sldMk cId="864601595" sldId="2147483537"/>
            <ac:spMk id="9" creationId="{62360467-5683-4464-885A-CA423BF082EB}"/>
          </ac:spMkLst>
        </pc:spChg>
        <pc:spChg chg="mod">
          <ac:chgData name="Koudelka, Matt" userId="67237109-5853-4711-8261-4d29215914f4" providerId="ADAL" clId="{C1C0FC65-B641-4F94-8062-92A73CA092D2}" dt="2025-10-23T20:16:33.250" v="8376" actId="2711"/>
          <ac:spMkLst>
            <pc:docMk/>
            <pc:sldMk cId="864601595" sldId="2147483537"/>
            <ac:spMk id="28" creationId="{DC561D4C-003C-2B4E-4347-84A18123C96D}"/>
          </ac:spMkLst>
        </pc:spChg>
        <pc:spChg chg="mod">
          <ac:chgData name="Koudelka, Matt" userId="67237109-5853-4711-8261-4d29215914f4" providerId="ADAL" clId="{C1C0FC65-B641-4F94-8062-92A73CA092D2}" dt="2025-10-23T13:01:28.338" v="7334" actId="20577"/>
          <ac:spMkLst>
            <pc:docMk/>
            <pc:sldMk cId="864601595" sldId="2147483537"/>
            <ac:spMk id="33" creationId="{FE1A0CD6-136D-511E-CC16-BF4B63D298AC}"/>
          </ac:spMkLst>
        </pc:spChg>
        <pc:graphicFrameChg chg="mod modGraphic">
          <ac:chgData name="Koudelka, Matt" userId="67237109-5853-4711-8261-4d29215914f4" providerId="ADAL" clId="{C1C0FC65-B641-4F94-8062-92A73CA092D2}" dt="2025-10-23T20:16:22.147" v="8375" actId="2711"/>
          <ac:graphicFrameMkLst>
            <pc:docMk/>
            <pc:sldMk cId="864601595" sldId="2147483537"/>
            <ac:graphicFrameMk id="37" creationId="{A4EDC946-CC77-76CC-3932-D0FF8AF636E1}"/>
          </ac:graphicFrameMkLst>
        </pc:graphicFrameChg>
      </pc:sldChg>
      <pc:sldMasterChg chg="modSp mod delSldLayout">
        <pc:chgData name="Koudelka, Matt" userId="67237109-5853-4711-8261-4d29215914f4" providerId="ADAL" clId="{C1C0FC65-B641-4F94-8062-92A73CA092D2}" dt="2025-10-23T20:07:45.423" v="8161" actId="1036"/>
        <pc:sldMasterMkLst>
          <pc:docMk/>
          <pc:sldMasterMk cId="1863342551" sldId="2147483945"/>
        </pc:sldMasterMkLst>
        <pc:spChg chg="mod">
          <ac:chgData name="Koudelka, Matt" userId="67237109-5853-4711-8261-4d29215914f4" providerId="ADAL" clId="{C1C0FC65-B641-4F94-8062-92A73CA092D2}" dt="2025-10-23T20:07:45.423" v="8161" actId="1036"/>
          <ac:spMkLst>
            <pc:docMk/>
            <pc:sldMasterMk cId="1863342551" sldId="2147483945"/>
            <ac:spMk id="3" creationId="{00000000-0000-0000-0000-000000000000}"/>
          </ac:spMkLst>
        </pc:spChg>
        <pc:spChg chg="mod">
          <ac:chgData name="Koudelka, Matt" userId="67237109-5853-4711-8261-4d29215914f4" providerId="ADAL" clId="{C1C0FC65-B641-4F94-8062-92A73CA092D2}" dt="2025-10-23T20:07:39.368" v="8149" actId="1036"/>
          <ac:spMkLst>
            <pc:docMk/>
            <pc:sldMasterMk cId="1863342551" sldId="2147483945"/>
            <ac:spMk id="15" creationId="{00000000-0000-0000-0000-000000000000}"/>
          </ac:spMkLst>
        </pc:spChg>
        <pc:spChg chg="mod">
          <ac:chgData name="Koudelka, Matt" userId="67237109-5853-4711-8261-4d29215914f4" providerId="ADAL" clId="{C1C0FC65-B641-4F94-8062-92A73CA092D2}" dt="2025-10-23T20:07:39.368" v="8149" actId="1036"/>
          <ac:spMkLst>
            <pc:docMk/>
            <pc:sldMasterMk cId="1863342551" sldId="2147483945"/>
            <ac:spMk id="18" creationId="{00000000-0000-0000-0000-000000000000}"/>
          </ac:spMkLst>
        </pc:spChg>
        <pc:sldLayoutChg chg="del">
          <pc:chgData name="Koudelka, Matt" userId="67237109-5853-4711-8261-4d29215914f4" providerId="ADAL" clId="{C1C0FC65-B641-4F94-8062-92A73CA092D2}" dt="2025-10-16T01:19:39.586" v="211" actId="47"/>
          <pc:sldLayoutMkLst>
            <pc:docMk/>
            <pc:sldMasterMk cId="1863342551" sldId="2147483945"/>
            <pc:sldLayoutMk cId="962050664" sldId="2147484029"/>
          </pc:sldLayoutMkLst>
        </pc:sldLayoutChg>
        <pc:sldLayoutChg chg="del">
          <pc:chgData name="Koudelka, Matt" userId="67237109-5853-4711-8261-4d29215914f4" providerId="ADAL" clId="{C1C0FC65-B641-4F94-8062-92A73CA092D2}" dt="2025-10-23T20:01:50.078" v="8117" actId="47"/>
          <pc:sldLayoutMkLst>
            <pc:docMk/>
            <pc:sldMasterMk cId="1863342551" sldId="2147483945"/>
            <pc:sldLayoutMk cId="1081657402" sldId="2147484031"/>
          </pc:sldLayoutMkLst>
        </pc:sldLayoutChg>
        <pc:sldLayoutChg chg="del">
          <pc:chgData name="Koudelka, Matt" userId="67237109-5853-4711-8261-4d29215914f4" providerId="ADAL" clId="{C1C0FC65-B641-4F94-8062-92A73CA092D2}" dt="2025-10-16T01:15:30.673" v="185" actId="47"/>
          <pc:sldLayoutMkLst>
            <pc:docMk/>
            <pc:sldMasterMk cId="1863342551" sldId="2147483945"/>
            <pc:sldLayoutMk cId="1773723706" sldId="2147484032"/>
          </pc:sldLayoutMkLst>
        </pc:sldLayoutChg>
      </pc:sldMasterChg>
    </pc:docChg>
  </pc:docChgLst>
  <pc:docChgLst>
    <pc:chgData name="Fina, Eleanor" userId="07424c2a-04db-42bb-81cb-cc1212e76878" providerId="ADAL" clId="{1477056B-1D86-400C-8757-BB1DEF6EDFF0}"/>
    <pc:docChg chg="undo custSel delSld modSld delMainMaster addSection delSection modSection">
      <pc:chgData name="Fina, Eleanor" userId="07424c2a-04db-42bb-81cb-cc1212e76878" providerId="ADAL" clId="{1477056B-1D86-400C-8757-BB1DEF6EDFF0}" dt="2025-10-24T20:36:08.426" v="288" actId="17851"/>
      <pc:docMkLst>
        <pc:docMk/>
      </pc:docMkLst>
      <pc:sldChg chg="del">
        <pc:chgData name="Fina, Eleanor" userId="07424c2a-04db-42bb-81cb-cc1212e76878" providerId="ADAL" clId="{1477056B-1D86-400C-8757-BB1DEF6EDFF0}" dt="2025-10-24T20:28:44.587" v="187" actId="2696"/>
        <pc:sldMkLst>
          <pc:docMk/>
          <pc:sldMk cId="1608750403" sldId="699"/>
        </pc:sldMkLst>
      </pc:sldChg>
      <pc:sldChg chg="modSp mod">
        <pc:chgData name="Fina, Eleanor" userId="07424c2a-04db-42bb-81cb-cc1212e76878" providerId="ADAL" clId="{1477056B-1D86-400C-8757-BB1DEF6EDFF0}" dt="2025-10-24T20:35:15.220" v="286" actId="207"/>
        <pc:sldMkLst>
          <pc:docMk/>
          <pc:sldMk cId="3359619883" sldId="779"/>
        </pc:sldMkLst>
        <pc:graphicFrameChg chg="modGraphic">
          <ac:chgData name="Fina, Eleanor" userId="07424c2a-04db-42bb-81cb-cc1212e76878" providerId="ADAL" clId="{1477056B-1D86-400C-8757-BB1DEF6EDFF0}" dt="2025-10-24T20:35:15.220" v="286" actId="207"/>
          <ac:graphicFrameMkLst>
            <pc:docMk/>
            <pc:sldMk cId="3359619883" sldId="779"/>
            <ac:graphicFrameMk id="2" creationId="{243E2FF1-E2C8-5A4F-98BD-C81E137D579C}"/>
          </ac:graphicFrameMkLst>
        </pc:graphicFrameChg>
      </pc:sldChg>
      <pc:sldChg chg="del">
        <pc:chgData name="Fina, Eleanor" userId="07424c2a-04db-42bb-81cb-cc1212e76878" providerId="ADAL" clId="{1477056B-1D86-400C-8757-BB1DEF6EDFF0}" dt="2025-10-24T20:28:44.587" v="187" actId="2696"/>
        <pc:sldMkLst>
          <pc:docMk/>
          <pc:sldMk cId="767592191" sldId="2142532780"/>
        </pc:sldMkLst>
      </pc:sldChg>
      <pc:sldChg chg="del">
        <pc:chgData name="Fina, Eleanor" userId="07424c2a-04db-42bb-81cb-cc1212e76878" providerId="ADAL" clId="{1477056B-1D86-400C-8757-BB1DEF6EDFF0}" dt="2025-10-24T20:28:44.587" v="187" actId="2696"/>
        <pc:sldMkLst>
          <pc:docMk/>
          <pc:sldMk cId="1602530467" sldId="2147483520"/>
        </pc:sldMkLst>
      </pc:sldChg>
      <pc:sldChg chg="del">
        <pc:chgData name="Fina, Eleanor" userId="07424c2a-04db-42bb-81cb-cc1212e76878" providerId="ADAL" clId="{1477056B-1D86-400C-8757-BB1DEF6EDFF0}" dt="2025-10-24T20:28:44.587" v="187" actId="2696"/>
        <pc:sldMkLst>
          <pc:docMk/>
          <pc:sldMk cId="3157811391" sldId="2147483521"/>
        </pc:sldMkLst>
      </pc:sldChg>
      <pc:sldChg chg="modSp del mod">
        <pc:chgData name="Fina, Eleanor" userId="07424c2a-04db-42bb-81cb-cc1212e76878" providerId="ADAL" clId="{1477056B-1D86-400C-8757-BB1DEF6EDFF0}" dt="2025-10-24T20:28:44.587" v="187" actId="2696"/>
        <pc:sldMkLst>
          <pc:docMk/>
          <pc:sldMk cId="4017980223" sldId="2147483522"/>
        </pc:sldMkLst>
      </pc:sldChg>
      <pc:sldChg chg="del">
        <pc:chgData name="Fina, Eleanor" userId="07424c2a-04db-42bb-81cb-cc1212e76878" providerId="ADAL" clId="{1477056B-1D86-400C-8757-BB1DEF6EDFF0}" dt="2025-10-24T20:28:44.587" v="187" actId="2696"/>
        <pc:sldMkLst>
          <pc:docMk/>
          <pc:sldMk cId="1742964864" sldId="2147483524"/>
        </pc:sldMkLst>
      </pc:sldChg>
      <pc:sldChg chg="del">
        <pc:chgData name="Fina, Eleanor" userId="07424c2a-04db-42bb-81cb-cc1212e76878" providerId="ADAL" clId="{1477056B-1D86-400C-8757-BB1DEF6EDFF0}" dt="2025-10-24T20:28:44.587" v="187" actId="2696"/>
        <pc:sldMkLst>
          <pc:docMk/>
          <pc:sldMk cId="418558852" sldId="2147483526"/>
        </pc:sldMkLst>
      </pc:sldChg>
      <pc:sldChg chg="modSp del mod">
        <pc:chgData name="Fina, Eleanor" userId="07424c2a-04db-42bb-81cb-cc1212e76878" providerId="ADAL" clId="{1477056B-1D86-400C-8757-BB1DEF6EDFF0}" dt="2025-10-24T20:28:44.587" v="187" actId="2696"/>
        <pc:sldMkLst>
          <pc:docMk/>
          <pc:sldMk cId="164222968" sldId="2147483527"/>
        </pc:sldMkLst>
      </pc:sldChg>
      <pc:sldChg chg="addSp delSp modSp mod">
        <pc:chgData name="Fina, Eleanor" userId="07424c2a-04db-42bb-81cb-cc1212e76878" providerId="ADAL" clId="{1477056B-1D86-400C-8757-BB1DEF6EDFF0}" dt="2025-10-21T16:04:41.069" v="186" actId="1076"/>
        <pc:sldMkLst>
          <pc:docMk/>
          <pc:sldMk cId="4180935394" sldId="2147483528"/>
        </pc:sldMkLst>
      </pc:sldChg>
      <pc:sldChg chg="modSp mod">
        <pc:chgData name="Fina, Eleanor" userId="07424c2a-04db-42bb-81cb-cc1212e76878" providerId="ADAL" clId="{1477056B-1D86-400C-8757-BB1DEF6EDFF0}" dt="2025-10-24T20:35:12.234" v="281" actId="207"/>
        <pc:sldMkLst>
          <pc:docMk/>
          <pc:sldMk cId="17551018" sldId="2147483530"/>
        </pc:sldMkLst>
        <pc:graphicFrameChg chg="modGraphic">
          <ac:chgData name="Fina, Eleanor" userId="07424c2a-04db-42bb-81cb-cc1212e76878" providerId="ADAL" clId="{1477056B-1D86-400C-8757-BB1DEF6EDFF0}" dt="2025-10-24T20:35:12.234" v="281" actId="207"/>
          <ac:graphicFrameMkLst>
            <pc:docMk/>
            <pc:sldMk cId="17551018" sldId="2147483530"/>
            <ac:graphicFrameMk id="5" creationId="{18306976-431F-764B-70B2-F93DD3ADCB12}"/>
          </ac:graphicFrameMkLst>
        </pc:graphicFrameChg>
      </pc:sldChg>
      <pc:sldChg chg="del">
        <pc:chgData name="Fina, Eleanor" userId="07424c2a-04db-42bb-81cb-cc1212e76878" providerId="ADAL" clId="{1477056B-1D86-400C-8757-BB1DEF6EDFF0}" dt="2025-10-24T20:28:44.587" v="187" actId="2696"/>
        <pc:sldMkLst>
          <pc:docMk/>
          <pc:sldMk cId="19646095" sldId="2147483532"/>
        </pc:sldMkLst>
      </pc:sldChg>
      <pc:sldChg chg="del">
        <pc:chgData name="Fina, Eleanor" userId="07424c2a-04db-42bb-81cb-cc1212e76878" providerId="ADAL" clId="{1477056B-1D86-400C-8757-BB1DEF6EDFF0}" dt="2025-10-24T20:28:44.587" v="187" actId="2696"/>
        <pc:sldMkLst>
          <pc:docMk/>
          <pc:sldMk cId="3911131713" sldId="2147483535"/>
        </pc:sldMkLst>
      </pc:sldChg>
      <pc:sldChg chg="del">
        <pc:chgData name="Fina, Eleanor" userId="07424c2a-04db-42bb-81cb-cc1212e76878" providerId="ADAL" clId="{1477056B-1D86-400C-8757-BB1DEF6EDFF0}" dt="2025-10-24T20:28:44.587" v="187" actId="2696"/>
        <pc:sldMkLst>
          <pc:docMk/>
          <pc:sldMk cId="49707934" sldId="2147483536"/>
        </pc:sldMkLst>
      </pc:sldChg>
      <pc:sldChg chg="modSp mod">
        <pc:chgData name="Fina, Eleanor" userId="07424c2a-04db-42bb-81cb-cc1212e76878" providerId="ADAL" clId="{1477056B-1D86-400C-8757-BB1DEF6EDFF0}" dt="2025-10-24T20:29:52.727" v="255" actId="20577"/>
        <pc:sldMkLst>
          <pc:docMk/>
          <pc:sldMk cId="3535246994" sldId="2147483539"/>
        </pc:sldMkLst>
        <pc:spChg chg="mod">
          <ac:chgData name="Fina, Eleanor" userId="07424c2a-04db-42bb-81cb-cc1212e76878" providerId="ADAL" clId="{1477056B-1D86-400C-8757-BB1DEF6EDFF0}" dt="2025-10-24T20:29:52.727" v="255" actId="20577"/>
          <ac:spMkLst>
            <pc:docMk/>
            <pc:sldMk cId="3535246994" sldId="2147483539"/>
            <ac:spMk id="114" creationId="{9453C1CE-CE09-3A57-0DA3-2DDBADBA3798}"/>
          </ac:spMkLst>
        </pc:spChg>
      </pc:sldChg>
      <pc:sldMasterChg chg="del delSldLayout">
        <pc:chgData name="Fina, Eleanor" userId="07424c2a-04db-42bb-81cb-cc1212e76878" providerId="ADAL" clId="{1477056B-1D86-400C-8757-BB1DEF6EDFF0}" dt="2025-10-24T20:28:44.587" v="187" actId="2696"/>
        <pc:sldMasterMkLst>
          <pc:docMk/>
          <pc:sldMasterMk cId="597748542" sldId="2147484034"/>
        </pc:sldMasterMkLst>
        <pc:sldLayoutChg chg="del">
          <pc:chgData name="Fina, Eleanor" userId="07424c2a-04db-42bb-81cb-cc1212e76878" providerId="ADAL" clId="{1477056B-1D86-400C-8757-BB1DEF6EDFF0}" dt="2025-10-24T20:28:44.587" v="187" actId="2696"/>
          <pc:sldLayoutMkLst>
            <pc:docMk/>
            <pc:sldMasterMk cId="597748542" sldId="2147484034"/>
            <pc:sldLayoutMk cId="4250917125" sldId="2147484035"/>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1499639411" sldId="2147484036"/>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3667708209" sldId="2147484037"/>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737759147" sldId="2147484038"/>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1387001564" sldId="2147484039"/>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1932353944" sldId="2147484040"/>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860998200" sldId="2147484041"/>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659821261" sldId="2147484042"/>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2017434649" sldId="2147484043"/>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1392098576" sldId="2147484044"/>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2775347565" sldId="2147484045"/>
          </pc:sldLayoutMkLst>
        </pc:sldLayoutChg>
        <pc:sldLayoutChg chg="del">
          <pc:chgData name="Fina, Eleanor" userId="07424c2a-04db-42bb-81cb-cc1212e76878" providerId="ADAL" clId="{1477056B-1D86-400C-8757-BB1DEF6EDFF0}" dt="2025-10-24T20:28:44.587" v="187" actId="2696"/>
          <pc:sldLayoutMkLst>
            <pc:docMk/>
            <pc:sldMasterMk cId="597748542" sldId="2147484034"/>
            <pc:sldLayoutMk cId="1101616288" sldId="2147484046"/>
          </pc:sldLayoutMkLst>
        </pc:sldLayoutChg>
      </pc:sldMasterChg>
    </pc:docChg>
  </pc:docChgLst>
  <pc:docChgLst>
    <pc:chgData name="Pereira, Ehrlich" userId="2a12278f-896d-490e-8a7f-20e9c9b7238f" providerId="ADAL" clId="{161DF1A2-383C-4786-BB27-C8EF44BD5421}"/>
    <pc:docChg chg="undo custSel addSld delSld modSld modSection">
      <pc:chgData name="Pereira, Ehrlich" userId="2a12278f-896d-490e-8a7f-20e9c9b7238f" providerId="ADAL" clId="{161DF1A2-383C-4786-BB27-C8EF44BD5421}" dt="2025-10-24T07:25:59.615" v="1430" actId="14100"/>
      <pc:docMkLst>
        <pc:docMk/>
      </pc:docMkLst>
      <pc:sldChg chg="addSp delSp modSp mod">
        <pc:chgData name="Pereira, Ehrlich" userId="2a12278f-896d-490e-8a7f-20e9c9b7238f" providerId="ADAL" clId="{161DF1A2-383C-4786-BB27-C8EF44BD5421}" dt="2025-10-16T07:58:14.123" v="529" actId="20577"/>
        <pc:sldMkLst>
          <pc:docMk/>
          <pc:sldMk cId="1608750403" sldId="699"/>
        </pc:sldMkLst>
        <pc:spChg chg="mod">
          <ac:chgData name="Pereira, Ehrlich" userId="2a12278f-896d-490e-8a7f-20e9c9b7238f" providerId="ADAL" clId="{161DF1A2-383C-4786-BB27-C8EF44BD5421}" dt="2025-10-16T07:44:17.690" v="399" actId="21"/>
          <ac:spMkLst>
            <pc:docMk/>
            <pc:sldMk cId="1608750403" sldId="699"/>
            <ac:spMk id="2" creationId="{25F0A5D7-1E73-4084-BFBB-8BCF68C45724}"/>
          </ac:spMkLst>
        </pc:spChg>
        <pc:spChg chg="add del mod">
          <ac:chgData name="Pereira, Ehrlich" userId="2a12278f-896d-490e-8a7f-20e9c9b7238f" providerId="ADAL" clId="{161DF1A2-383C-4786-BB27-C8EF44BD5421}" dt="2025-10-16T07:46:04.281" v="435" actId="20577"/>
          <ac:spMkLst>
            <pc:docMk/>
            <pc:sldMk cId="1608750403" sldId="699"/>
            <ac:spMk id="7" creationId="{9B580489-4711-3797-8E47-82A43B6EE798}"/>
          </ac:spMkLst>
        </pc:spChg>
        <pc:spChg chg="add mod">
          <ac:chgData name="Pereira, Ehrlich" userId="2a12278f-896d-490e-8a7f-20e9c9b7238f" providerId="ADAL" clId="{161DF1A2-383C-4786-BB27-C8EF44BD5421}" dt="2025-10-16T07:02:57.587" v="124" actId="1076"/>
          <ac:spMkLst>
            <pc:docMk/>
            <pc:sldMk cId="1608750403" sldId="699"/>
            <ac:spMk id="14" creationId="{9C2F2DC0-F19C-E075-F6BE-C64FCB894458}"/>
          </ac:spMkLst>
        </pc:spChg>
        <pc:spChg chg="add mod">
          <ac:chgData name="Pereira, Ehrlich" userId="2a12278f-896d-490e-8a7f-20e9c9b7238f" providerId="ADAL" clId="{161DF1A2-383C-4786-BB27-C8EF44BD5421}" dt="2025-10-16T07:48:26.487" v="501" actId="465"/>
          <ac:spMkLst>
            <pc:docMk/>
            <pc:sldMk cId="1608750403" sldId="699"/>
            <ac:spMk id="18" creationId="{4B71A189-7780-41AE-16C0-55DA08042745}"/>
          </ac:spMkLst>
        </pc:spChg>
        <pc:spChg chg="add mod">
          <ac:chgData name="Pereira, Ehrlich" userId="2a12278f-896d-490e-8a7f-20e9c9b7238f" providerId="ADAL" clId="{161DF1A2-383C-4786-BB27-C8EF44BD5421}" dt="2025-10-16T07:58:14.123" v="529" actId="20577"/>
          <ac:spMkLst>
            <pc:docMk/>
            <pc:sldMk cId="1608750403" sldId="699"/>
            <ac:spMk id="24" creationId="{A4267169-EB92-8CA3-912F-491990088CF2}"/>
          </ac:spMkLst>
        </pc:spChg>
        <pc:spChg chg="add mod">
          <ac:chgData name="Pereira, Ehrlich" userId="2a12278f-896d-490e-8a7f-20e9c9b7238f" providerId="ADAL" clId="{161DF1A2-383C-4786-BB27-C8EF44BD5421}" dt="2025-10-16T07:54:15.283" v="527" actId="113"/>
          <ac:spMkLst>
            <pc:docMk/>
            <pc:sldMk cId="1608750403" sldId="699"/>
            <ac:spMk id="26" creationId="{0A4EB709-7F98-7A8B-AED7-1B5EA7398AB1}"/>
          </ac:spMkLst>
        </pc:spChg>
        <pc:spChg chg="add mod">
          <ac:chgData name="Pereira, Ehrlich" userId="2a12278f-896d-490e-8a7f-20e9c9b7238f" providerId="ADAL" clId="{161DF1A2-383C-4786-BB27-C8EF44BD5421}" dt="2025-10-16T07:48:26.487" v="501" actId="465"/>
          <ac:spMkLst>
            <pc:docMk/>
            <pc:sldMk cId="1608750403" sldId="699"/>
            <ac:spMk id="27" creationId="{00C09876-EE6A-55EC-AA74-D0F62CCD3516}"/>
          </ac:spMkLst>
        </pc:spChg>
      </pc:sldChg>
      <pc:sldChg chg="addSp modSp mod">
        <pc:chgData name="Pereira, Ehrlich" userId="2a12278f-896d-490e-8a7f-20e9c9b7238f" providerId="ADAL" clId="{161DF1A2-383C-4786-BB27-C8EF44BD5421}" dt="2025-10-17T09:46:45.895" v="1322" actId="692"/>
        <pc:sldMkLst>
          <pc:docMk/>
          <pc:sldMk cId="2739463119" sldId="765"/>
        </pc:sldMkLst>
        <pc:spChg chg="add mod ord">
          <ac:chgData name="Pereira, Ehrlich" userId="2a12278f-896d-490e-8a7f-20e9c9b7238f" providerId="ADAL" clId="{161DF1A2-383C-4786-BB27-C8EF44BD5421}" dt="2025-10-17T09:46:45.895" v="1322" actId="692"/>
          <ac:spMkLst>
            <pc:docMk/>
            <pc:sldMk cId="2739463119" sldId="765"/>
            <ac:spMk id="4" creationId="{0B54BB1F-D09F-AA0E-9870-F81B8E5A593A}"/>
          </ac:spMkLst>
        </pc:spChg>
        <pc:spChg chg="mod">
          <ac:chgData name="Pereira, Ehrlich" userId="2a12278f-896d-490e-8a7f-20e9c9b7238f" providerId="ADAL" clId="{161DF1A2-383C-4786-BB27-C8EF44BD5421}" dt="2025-10-17T09:43:55.174" v="1312" actId="207"/>
          <ac:spMkLst>
            <pc:docMk/>
            <pc:sldMk cId="2739463119" sldId="765"/>
            <ac:spMk id="8" creationId="{E65063B8-CE83-D57F-74B9-346D2E4F7A37}"/>
          </ac:spMkLst>
        </pc:spChg>
        <pc:spChg chg="mod">
          <ac:chgData name="Pereira, Ehrlich" userId="2a12278f-896d-490e-8a7f-20e9c9b7238f" providerId="ADAL" clId="{161DF1A2-383C-4786-BB27-C8EF44BD5421}" dt="2025-10-17T09:39:11.494" v="1196" actId="207"/>
          <ac:spMkLst>
            <pc:docMk/>
            <pc:sldMk cId="2739463119" sldId="765"/>
            <ac:spMk id="100" creationId="{D818A44A-E511-45D4-B2D6-5461597CA302}"/>
          </ac:spMkLst>
        </pc:spChg>
        <pc:spChg chg="mod">
          <ac:chgData name="Pereira, Ehrlich" userId="2a12278f-896d-490e-8a7f-20e9c9b7238f" providerId="ADAL" clId="{161DF1A2-383C-4786-BB27-C8EF44BD5421}" dt="2025-10-17T09:43:31.858" v="1310" actId="207"/>
          <ac:spMkLst>
            <pc:docMk/>
            <pc:sldMk cId="2739463119" sldId="765"/>
            <ac:spMk id="105" creationId="{CCCC734A-C57E-410D-B5A5-BC47B8BA63AF}"/>
          </ac:spMkLst>
        </pc:spChg>
        <pc:spChg chg="mod">
          <ac:chgData name="Pereira, Ehrlich" userId="2a12278f-896d-490e-8a7f-20e9c9b7238f" providerId="ADAL" clId="{161DF1A2-383C-4786-BB27-C8EF44BD5421}" dt="2025-10-17T09:43:49.919" v="1311" actId="207"/>
          <ac:spMkLst>
            <pc:docMk/>
            <pc:sldMk cId="2739463119" sldId="765"/>
            <ac:spMk id="113" creationId="{043C274B-2C0D-4EF5-9D2D-186BA04A4A62}"/>
          </ac:spMkLst>
        </pc:spChg>
        <pc:spChg chg="mod">
          <ac:chgData name="Pereira, Ehrlich" userId="2a12278f-896d-490e-8a7f-20e9c9b7238f" providerId="ADAL" clId="{161DF1A2-383C-4786-BB27-C8EF44BD5421}" dt="2025-10-17T09:40:35.078" v="1240" actId="6549"/>
          <ac:spMkLst>
            <pc:docMk/>
            <pc:sldMk cId="2739463119" sldId="765"/>
            <ac:spMk id="114" creationId="{27443C9F-6F38-41D1-9AF7-CF5253A53CFD}"/>
          </ac:spMkLst>
        </pc:spChg>
        <pc:spChg chg="mod">
          <ac:chgData name="Pereira, Ehrlich" userId="2a12278f-896d-490e-8a7f-20e9c9b7238f" providerId="ADAL" clId="{161DF1A2-383C-4786-BB27-C8EF44BD5421}" dt="2025-10-17T09:39:33.791" v="1197" actId="207"/>
          <ac:spMkLst>
            <pc:docMk/>
            <pc:sldMk cId="2739463119" sldId="765"/>
            <ac:spMk id="116" creationId="{D4EDFEF8-557F-49C3-A558-7FE3B642AC34}"/>
          </ac:spMkLst>
        </pc:spChg>
        <pc:spChg chg="mod">
          <ac:chgData name="Pereira, Ehrlich" userId="2a12278f-896d-490e-8a7f-20e9c9b7238f" providerId="ADAL" clId="{161DF1A2-383C-4786-BB27-C8EF44BD5421}" dt="2025-10-17T09:44:07.843" v="1313" actId="207"/>
          <ac:spMkLst>
            <pc:docMk/>
            <pc:sldMk cId="2739463119" sldId="765"/>
            <ac:spMk id="119" creationId="{744FF225-4BB4-42B6-ABE2-F4E1036D3532}"/>
          </ac:spMkLst>
        </pc:spChg>
        <pc:spChg chg="mod">
          <ac:chgData name="Pereira, Ehrlich" userId="2a12278f-896d-490e-8a7f-20e9c9b7238f" providerId="ADAL" clId="{161DF1A2-383C-4786-BB27-C8EF44BD5421}" dt="2025-10-17T09:43:02.998" v="1306" actId="207"/>
          <ac:spMkLst>
            <pc:docMk/>
            <pc:sldMk cId="2739463119" sldId="765"/>
            <ac:spMk id="122" creationId="{36921185-60E3-4E47-9B80-4E6E488065D9}"/>
          </ac:spMkLst>
        </pc:spChg>
        <pc:spChg chg="mod">
          <ac:chgData name="Pereira, Ehrlich" userId="2a12278f-896d-490e-8a7f-20e9c9b7238f" providerId="ADAL" clId="{161DF1A2-383C-4786-BB27-C8EF44BD5421}" dt="2025-10-17T09:43:24.699" v="1309" actId="207"/>
          <ac:spMkLst>
            <pc:docMk/>
            <pc:sldMk cId="2739463119" sldId="765"/>
            <ac:spMk id="123" creationId="{63543E58-773F-4ECC-AE41-B64295829B6E}"/>
          </ac:spMkLst>
        </pc:spChg>
        <pc:spChg chg="mod">
          <ac:chgData name="Pereira, Ehrlich" userId="2a12278f-896d-490e-8a7f-20e9c9b7238f" providerId="ADAL" clId="{161DF1A2-383C-4786-BB27-C8EF44BD5421}" dt="2025-10-17T09:36:25.099" v="1185" actId="207"/>
          <ac:spMkLst>
            <pc:docMk/>
            <pc:sldMk cId="2739463119" sldId="765"/>
            <ac:spMk id="125" creationId="{921DCB89-68EB-4171-B7ED-C7750D1C6101}"/>
          </ac:spMkLst>
        </pc:spChg>
        <pc:spChg chg="mod">
          <ac:chgData name="Pereira, Ehrlich" userId="2a12278f-896d-490e-8a7f-20e9c9b7238f" providerId="ADAL" clId="{161DF1A2-383C-4786-BB27-C8EF44BD5421}" dt="2025-10-17T09:38:57.310" v="1192" actId="207"/>
          <ac:spMkLst>
            <pc:docMk/>
            <pc:sldMk cId="2739463119" sldId="765"/>
            <ac:spMk id="141" creationId="{78FD4A15-BB61-4D87-9E87-382B927FB4C9}"/>
          </ac:spMkLst>
        </pc:spChg>
        <pc:spChg chg="mod">
          <ac:chgData name="Pereira, Ehrlich" userId="2a12278f-896d-490e-8a7f-20e9c9b7238f" providerId="ADAL" clId="{161DF1A2-383C-4786-BB27-C8EF44BD5421}" dt="2025-10-17T09:39:02.377" v="1193" actId="207"/>
          <ac:spMkLst>
            <pc:docMk/>
            <pc:sldMk cId="2739463119" sldId="765"/>
            <ac:spMk id="142" creationId="{4BC9A539-3667-4BFE-9E4F-81FA02EFA619}"/>
          </ac:spMkLst>
        </pc:spChg>
        <pc:spChg chg="mod">
          <ac:chgData name="Pereira, Ehrlich" userId="2a12278f-896d-490e-8a7f-20e9c9b7238f" providerId="ADAL" clId="{161DF1A2-383C-4786-BB27-C8EF44BD5421}" dt="2025-10-17T09:38:26.106" v="1191" actId="207"/>
          <ac:spMkLst>
            <pc:docMk/>
            <pc:sldMk cId="2739463119" sldId="765"/>
            <ac:spMk id="144" creationId="{A05F4DB7-700C-4A2E-969D-33283C120EC9}"/>
          </ac:spMkLst>
        </pc:spChg>
        <pc:spChg chg="mod">
          <ac:chgData name="Pereira, Ehrlich" userId="2a12278f-896d-490e-8a7f-20e9c9b7238f" providerId="ADAL" clId="{161DF1A2-383C-4786-BB27-C8EF44BD5421}" dt="2025-10-17T09:38:26.106" v="1191" actId="207"/>
          <ac:spMkLst>
            <pc:docMk/>
            <pc:sldMk cId="2739463119" sldId="765"/>
            <ac:spMk id="145" creationId="{790BD73C-DE12-4489-882E-13024C466361}"/>
          </ac:spMkLst>
        </pc:spChg>
        <pc:spChg chg="mod">
          <ac:chgData name="Pereira, Ehrlich" userId="2a12278f-896d-490e-8a7f-20e9c9b7238f" providerId="ADAL" clId="{161DF1A2-383C-4786-BB27-C8EF44BD5421}" dt="2025-10-17T09:38:26.106" v="1191" actId="207"/>
          <ac:spMkLst>
            <pc:docMk/>
            <pc:sldMk cId="2739463119" sldId="765"/>
            <ac:spMk id="146" creationId="{15FDF464-77C7-4E79-91EF-7F13541D888A}"/>
          </ac:spMkLst>
        </pc:spChg>
        <pc:spChg chg="mod">
          <ac:chgData name="Pereira, Ehrlich" userId="2a12278f-896d-490e-8a7f-20e9c9b7238f" providerId="ADAL" clId="{161DF1A2-383C-4786-BB27-C8EF44BD5421}" dt="2025-10-17T09:43:16.564" v="1308" actId="207"/>
          <ac:spMkLst>
            <pc:docMk/>
            <pc:sldMk cId="2739463119" sldId="765"/>
            <ac:spMk id="148" creationId="{CA0BB8F2-9CB8-4B26-9351-D5522ADF53AB}"/>
          </ac:spMkLst>
        </pc:spChg>
        <pc:spChg chg="mod">
          <ac:chgData name="Pereira, Ehrlich" userId="2a12278f-896d-490e-8a7f-20e9c9b7238f" providerId="ADAL" clId="{161DF1A2-383C-4786-BB27-C8EF44BD5421}" dt="2025-10-17T09:39:08.753" v="1195" actId="207"/>
          <ac:spMkLst>
            <pc:docMk/>
            <pc:sldMk cId="2739463119" sldId="765"/>
            <ac:spMk id="149" creationId="{81AB32D8-1E1F-4805-A285-6CDA13E7FA8B}"/>
          </ac:spMkLst>
        </pc:spChg>
        <pc:spChg chg="mod">
          <ac:chgData name="Pereira, Ehrlich" userId="2a12278f-896d-490e-8a7f-20e9c9b7238f" providerId="ADAL" clId="{161DF1A2-383C-4786-BB27-C8EF44BD5421}" dt="2025-10-17T09:39:05.986" v="1194" actId="207"/>
          <ac:spMkLst>
            <pc:docMk/>
            <pc:sldMk cId="2739463119" sldId="765"/>
            <ac:spMk id="159" creationId="{3A5E8132-90F6-4363-8253-88158E2CBC05}"/>
          </ac:spMkLst>
        </pc:spChg>
        <pc:grpChg chg="mod">
          <ac:chgData name="Pereira, Ehrlich" userId="2a12278f-896d-490e-8a7f-20e9c9b7238f" providerId="ADAL" clId="{161DF1A2-383C-4786-BB27-C8EF44BD5421}" dt="2025-10-17T09:36:25.099" v="1185" actId="207"/>
          <ac:grpSpMkLst>
            <pc:docMk/>
            <pc:sldMk cId="2739463119" sldId="765"/>
            <ac:grpSpMk id="120" creationId="{63EC2A19-030D-4F6D-AAE3-0638CADC878A}"/>
          </ac:grpSpMkLst>
        </pc:grpChg>
        <pc:grpChg chg="mod">
          <ac:chgData name="Pereira, Ehrlich" userId="2a12278f-896d-490e-8a7f-20e9c9b7238f" providerId="ADAL" clId="{161DF1A2-383C-4786-BB27-C8EF44BD5421}" dt="2025-10-17T09:38:26.106" v="1191" actId="207"/>
          <ac:grpSpMkLst>
            <pc:docMk/>
            <pc:sldMk cId="2739463119" sldId="765"/>
            <ac:grpSpMk id="140" creationId="{2746340E-86D4-41CA-93A9-4E98D191BE05}"/>
          </ac:grpSpMkLst>
        </pc:grpChg>
        <pc:grpChg chg="mod">
          <ac:chgData name="Pereira, Ehrlich" userId="2a12278f-896d-490e-8a7f-20e9c9b7238f" providerId="ADAL" clId="{161DF1A2-383C-4786-BB27-C8EF44BD5421}" dt="2025-10-17T09:38:26.106" v="1191" actId="207"/>
          <ac:grpSpMkLst>
            <pc:docMk/>
            <pc:sldMk cId="2739463119" sldId="765"/>
            <ac:grpSpMk id="143" creationId="{E0D16D89-D72D-4F33-88DE-F94293011149}"/>
          </ac:grpSpMkLst>
        </pc:grpChg>
        <pc:picChg chg="mod">
          <ac:chgData name="Pereira, Ehrlich" userId="2a12278f-896d-490e-8a7f-20e9c9b7238f" providerId="ADAL" clId="{161DF1A2-383C-4786-BB27-C8EF44BD5421}" dt="2025-10-17T09:43:11.299" v="1307" actId="207"/>
          <ac:picMkLst>
            <pc:docMk/>
            <pc:sldMk cId="2739463119" sldId="765"/>
            <ac:picMk id="17" creationId="{C59D934A-626B-8D29-4BB2-A221A51669FA}"/>
          </ac:picMkLst>
        </pc:picChg>
      </pc:sldChg>
      <pc:sldChg chg="modSp mod">
        <pc:chgData name="Pereira, Ehrlich" userId="2a12278f-896d-490e-8a7f-20e9c9b7238f" providerId="ADAL" clId="{161DF1A2-383C-4786-BB27-C8EF44BD5421}" dt="2025-10-24T07:22:14.494" v="1407" actId="3064"/>
        <pc:sldMkLst>
          <pc:docMk/>
          <pc:sldMk cId="3359619883" sldId="779"/>
        </pc:sldMkLst>
        <pc:spChg chg="mod">
          <ac:chgData name="Pereira, Ehrlich" userId="2a12278f-896d-490e-8a7f-20e9c9b7238f" providerId="ADAL" clId="{161DF1A2-383C-4786-BB27-C8EF44BD5421}" dt="2025-10-24T07:22:14.494" v="1407" actId="3064"/>
          <ac:spMkLst>
            <pc:docMk/>
            <pc:sldMk cId="3359619883" sldId="779"/>
            <ac:spMk id="38" creationId="{45A456E4-4B0C-BDE4-8BF6-80E26DD761FB}"/>
          </ac:spMkLst>
        </pc:spChg>
      </pc:sldChg>
      <pc:sldChg chg="addSp delSp modSp del mod">
        <pc:chgData name="Pereira, Ehrlich" userId="2a12278f-896d-490e-8a7f-20e9c9b7238f" providerId="ADAL" clId="{161DF1A2-383C-4786-BB27-C8EF44BD5421}" dt="2025-10-17T08:29:21.675" v="1183" actId="47"/>
        <pc:sldMkLst>
          <pc:docMk/>
          <pc:sldMk cId="1042423689" sldId="2147483519"/>
        </pc:sldMkLst>
      </pc:sldChg>
      <pc:sldChg chg="modSp mod">
        <pc:chgData name="Pereira, Ehrlich" userId="2a12278f-896d-490e-8a7f-20e9c9b7238f" providerId="ADAL" clId="{161DF1A2-383C-4786-BB27-C8EF44BD5421}" dt="2025-10-16T06:35:52.328" v="0" actId="20577"/>
        <pc:sldMkLst>
          <pc:docMk/>
          <pc:sldMk cId="4017980223" sldId="2147483522"/>
        </pc:sldMkLst>
        <pc:spChg chg="mod">
          <ac:chgData name="Pereira, Ehrlich" userId="2a12278f-896d-490e-8a7f-20e9c9b7238f" providerId="ADAL" clId="{161DF1A2-383C-4786-BB27-C8EF44BD5421}" dt="2025-10-16T06:35:52.328" v="0" actId="20577"/>
          <ac:spMkLst>
            <pc:docMk/>
            <pc:sldMk cId="4017980223" sldId="2147483522"/>
            <ac:spMk id="15" creationId="{2789CAD2-97FD-2E68-4CED-FE89747643F4}"/>
          </ac:spMkLst>
        </pc:spChg>
      </pc:sldChg>
      <pc:sldChg chg="addSp delSp modSp del mod">
        <pc:chgData name="Pereira, Ehrlich" userId="2a12278f-896d-490e-8a7f-20e9c9b7238f" providerId="ADAL" clId="{161DF1A2-383C-4786-BB27-C8EF44BD5421}" dt="2025-10-17T07:33:27.545" v="1094" actId="47"/>
        <pc:sldMkLst>
          <pc:docMk/>
          <pc:sldMk cId="1678020534" sldId="2147483523"/>
        </pc:sldMkLst>
      </pc:sldChg>
      <pc:sldChg chg="addSp delSp modSp new mod">
        <pc:chgData name="Pereira, Ehrlich" userId="2a12278f-896d-490e-8a7f-20e9c9b7238f" providerId="ADAL" clId="{161DF1A2-383C-4786-BB27-C8EF44BD5421}" dt="2025-10-24T07:25:59.615" v="1430" actId="14100"/>
        <pc:sldMkLst>
          <pc:docMk/>
          <pc:sldMk cId="1742964864" sldId="2147483524"/>
        </pc:sldMkLst>
        <pc:spChg chg="add mod">
          <ac:chgData name="Pereira, Ehrlich" userId="2a12278f-896d-490e-8a7f-20e9c9b7238f" providerId="ADAL" clId="{161DF1A2-383C-4786-BB27-C8EF44BD5421}" dt="2025-10-17T07:32:20.490" v="1086"/>
          <ac:spMkLst>
            <pc:docMk/>
            <pc:sldMk cId="1742964864" sldId="2147483524"/>
            <ac:spMk id="6" creationId="{605AE771-E871-0FB1-BDEF-069988B86F2A}"/>
          </ac:spMkLst>
        </pc:spChg>
        <pc:graphicFrameChg chg="add mod modGraphic">
          <ac:chgData name="Pereira, Ehrlich" userId="2a12278f-896d-490e-8a7f-20e9c9b7238f" providerId="ADAL" clId="{161DF1A2-383C-4786-BB27-C8EF44BD5421}" dt="2025-10-24T07:25:59.615" v="1430" actId="14100"/>
          <ac:graphicFrameMkLst>
            <pc:docMk/>
            <pc:sldMk cId="1742964864" sldId="2147483524"/>
            <ac:graphicFrameMk id="5" creationId="{6F9B9861-2EA4-4CC1-AE84-E7FA4B28CCBE}"/>
          </ac:graphicFrameMkLst>
        </pc:graphicFrameChg>
      </pc:sldChg>
      <pc:sldChg chg="addSp delSp modSp add del mod">
        <pc:chgData name="Pereira, Ehrlich" userId="2a12278f-896d-490e-8a7f-20e9c9b7238f" providerId="ADAL" clId="{161DF1A2-383C-4786-BB27-C8EF44BD5421}" dt="2025-10-16T09:45:28.078" v="1048" actId="47"/>
        <pc:sldMkLst>
          <pc:docMk/>
          <pc:sldMk cId="2159124887" sldId="2147483524"/>
        </pc:sldMkLst>
      </pc:sldChg>
      <pc:sldChg chg="addSp modSp add mod">
        <pc:chgData name="Pereira, Ehrlich" userId="2a12278f-896d-490e-8a7f-20e9c9b7238f" providerId="ADAL" clId="{161DF1A2-383C-4786-BB27-C8EF44BD5421}" dt="2025-10-17T08:28:57.688" v="1182" actId="242"/>
        <pc:sldMkLst>
          <pc:docMk/>
          <pc:sldMk cId="2843059858" sldId="2147483525"/>
        </pc:sldMkLst>
        <pc:graphicFrameChg chg="modGraphic">
          <ac:chgData name="Pereira, Ehrlich" userId="2a12278f-896d-490e-8a7f-20e9c9b7238f" providerId="ADAL" clId="{161DF1A2-383C-4786-BB27-C8EF44BD5421}" dt="2025-10-17T08:28:57.688" v="1182" actId="242"/>
          <ac:graphicFrameMkLst>
            <pc:docMk/>
            <pc:sldMk cId="2843059858" sldId="2147483525"/>
            <ac:graphicFrameMk id="6" creationId="{2F8C853F-1002-3002-D333-CDE5C6580480}"/>
          </ac:graphicFrameMkLst>
        </pc:graphicFrameChg>
      </pc:sldChg>
      <pc:sldChg chg="addSp delSp modSp mod">
        <pc:chgData name="Pereira, Ehrlich" userId="2a12278f-896d-490e-8a7f-20e9c9b7238f" providerId="ADAL" clId="{161DF1A2-383C-4786-BB27-C8EF44BD5421}" dt="2025-10-24T07:22:53.432" v="1415" actId="3064"/>
        <pc:sldMkLst>
          <pc:docMk/>
          <pc:sldMk cId="2584062419" sldId="2147483529"/>
        </pc:sldMkLst>
        <pc:spChg chg="mod">
          <ac:chgData name="Pereira, Ehrlich" userId="2a12278f-896d-490e-8a7f-20e9c9b7238f" providerId="ADAL" clId="{161DF1A2-383C-4786-BB27-C8EF44BD5421}" dt="2025-10-24T07:18:27.365" v="1397" actId="1036"/>
          <ac:spMkLst>
            <pc:docMk/>
            <pc:sldMk cId="2584062419" sldId="2147483529"/>
            <ac:spMk id="3" creationId="{7DB57922-8565-074F-39B8-2E68EF0B25C1}"/>
          </ac:spMkLst>
        </pc:spChg>
        <pc:spChg chg="mod">
          <ac:chgData name="Pereira, Ehrlich" userId="2a12278f-896d-490e-8a7f-20e9c9b7238f" providerId="ADAL" clId="{161DF1A2-383C-4786-BB27-C8EF44BD5421}" dt="2025-10-24T07:18:27.365" v="1397" actId="1036"/>
          <ac:spMkLst>
            <pc:docMk/>
            <pc:sldMk cId="2584062419" sldId="2147483529"/>
            <ac:spMk id="7" creationId="{E2CA1D53-DE69-7D77-A62B-F1163E021C73}"/>
          </ac:spMkLst>
        </pc:spChg>
        <pc:spChg chg="add mod">
          <ac:chgData name="Pereira, Ehrlich" userId="2a12278f-896d-490e-8a7f-20e9c9b7238f" providerId="ADAL" clId="{161DF1A2-383C-4786-BB27-C8EF44BD5421}" dt="2025-10-24T07:17:55.399" v="1379"/>
          <ac:spMkLst>
            <pc:docMk/>
            <pc:sldMk cId="2584062419" sldId="2147483529"/>
            <ac:spMk id="9" creationId="{816EC021-B4FA-04E0-1F68-8DF33DAEBF4C}"/>
          </ac:spMkLst>
        </pc:spChg>
        <pc:spChg chg="mod">
          <ac:chgData name="Pereira, Ehrlich" userId="2a12278f-896d-490e-8a7f-20e9c9b7238f" providerId="ADAL" clId="{161DF1A2-383C-4786-BB27-C8EF44BD5421}" dt="2025-10-24T07:16:50.166" v="1378" actId="1037"/>
          <ac:spMkLst>
            <pc:docMk/>
            <pc:sldMk cId="2584062419" sldId="2147483529"/>
            <ac:spMk id="10" creationId="{4C79EAEB-74F0-F18A-6547-298F3162CAEC}"/>
          </ac:spMkLst>
        </pc:spChg>
        <pc:spChg chg="mod">
          <ac:chgData name="Pereira, Ehrlich" userId="2a12278f-896d-490e-8a7f-20e9c9b7238f" providerId="ADAL" clId="{161DF1A2-383C-4786-BB27-C8EF44BD5421}" dt="2025-10-24T07:18:27.365" v="1397" actId="1036"/>
          <ac:spMkLst>
            <pc:docMk/>
            <pc:sldMk cId="2584062419" sldId="2147483529"/>
            <ac:spMk id="11" creationId="{30406628-5B77-5DB1-D874-0220BCF4419F}"/>
          </ac:spMkLst>
        </pc:spChg>
        <pc:spChg chg="add mod">
          <ac:chgData name="Pereira, Ehrlich" userId="2a12278f-896d-490e-8a7f-20e9c9b7238f" providerId="ADAL" clId="{161DF1A2-383C-4786-BB27-C8EF44BD5421}" dt="2025-10-24T07:22:53.432" v="1415" actId="3064"/>
          <ac:spMkLst>
            <pc:docMk/>
            <pc:sldMk cId="2584062419" sldId="2147483529"/>
            <ac:spMk id="12" creationId="{8334DD93-DE05-A7B4-2C28-10F20DE25C78}"/>
          </ac:spMkLst>
        </pc:spChg>
        <pc:spChg chg="add del mod">
          <ac:chgData name="Pereira, Ehrlich" userId="2a12278f-896d-490e-8a7f-20e9c9b7238f" providerId="ADAL" clId="{161DF1A2-383C-4786-BB27-C8EF44BD5421}" dt="2025-10-24T07:19:18.880" v="1403" actId="478"/>
          <ac:spMkLst>
            <pc:docMk/>
            <pc:sldMk cId="2584062419" sldId="2147483529"/>
            <ac:spMk id="14" creationId="{9E68C253-7E0E-D39E-C892-0F87C26941B3}"/>
          </ac:spMkLst>
        </pc:spChg>
        <pc:spChg chg="mod">
          <ac:chgData name="Pereira, Ehrlich" userId="2a12278f-896d-490e-8a7f-20e9c9b7238f" providerId="ADAL" clId="{161DF1A2-383C-4786-BB27-C8EF44BD5421}" dt="2025-10-24T07:16:29.017" v="1352" actId="12788"/>
          <ac:spMkLst>
            <pc:docMk/>
            <pc:sldMk cId="2584062419" sldId="2147483529"/>
            <ac:spMk id="17" creationId="{EDB73775-3869-6200-4FC2-5E7387C92219}"/>
          </ac:spMkLst>
        </pc:spChg>
        <pc:spChg chg="del mod">
          <ac:chgData name="Pereira, Ehrlich" userId="2a12278f-896d-490e-8a7f-20e9c9b7238f" providerId="ADAL" clId="{161DF1A2-383C-4786-BB27-C8EF44BD5421}" dt="2025-10-24T07:18:50.961" v="1401" actId="478"/>
          <ac:spMkLst>
            <pc:docMk/>
            <pc:sldMk cId="2584062419" sldId="2147483529"/>
            <ac:spMk id="19" creationId="{5E8EC867-1096-7FBB-0B40-30D0055CC4A1}"/>
          </ac:spMkLst>
        </pc:spChg>
        <pc:spChg chg="mod">
          <ac:chgData name="Pereira, Ehrlich" userId="2a12278f-896d-490e-8a7f-20e9c9b7238f" providerId="ADAL" clId="{161DF1A2-383C-4786-BB27-C8EF44BD5421}" dt="2025-10-24T07:18:27.365" v="1397" actId="1036"/>
          <ac:spMkLst>
            <pc:docMk/>
            <pc:sldMk cId="2584062419" sldId="2147483529"/>
            <ac:spMk id="27" creationId="{AFBA49AB-12C5-560D-304E-C11DDC1588A2}"/>
          </ac:spMkLst>
        </pc:spChg>
        <pc:spChg chg="mod">
          <ac:chgData name="Pereira, Ehrlich" userId="2a12278f-896d-490e-8a7f-20e9c9b7238f" providerId="ADAL" clId="{161DF1A2-383C-4786-BB27-C8EF44BD5421}" dt="2025-10-24T07:18:27.365" v="1397" actId="1036"/>
          <ac:spMkLst>
            <pc:docMk/>
            <pc:sldMk cId="2584062419" sldId="2147483529"/>
            <ac:spMk id="28" creationId="{035B4F12-8C50-5A53-3EA0-62445E9D5467}"/>
          </ac:spMkLst>
        </pc:spChg>
        <pc:spChg chg="mod">
          <ac:chgData name="Pereira, Ehrlich" userId="2a12278f-896d-490e-8a7f-20e9c9b7238f" providerId="ADAL" clId="{161DF1A2-383C-4786-BB27-C8EF44BD5421}" dt="2025-10-24T07:18:27.365" v="1397" actId="1036"/>
          <ac:spMkLst>
            <pc:docMk/>
            <pc:sldMk cId="2584062419" sldId="2147483529"/>
            <ac:spMk id="29" creationId="{1C65DC4F-8569-68E4-15BB-588BE7004E72}"/>
          </ac:spMkLst>
        </pc:spChg>
        <pc:spChg chg="mod">
          <ac:chgData name="Pereira, Ehrlich" userId="2a12278f-896d-490e-8a7f-20e9c9b7238f" providerId="ADAL" clId="{161DF1A2-383C-4786-BB27-C8EF44BD5421}" dt="2025-10-24T07:18:27.365" v="1397" actId="1036"/>
          <ac:spMkLst>
            <pc:docMk/>
            <pc:sldMk cId="2584062419" sldId="2147483529"/>
            <ac:spMk id="51" creationId="{C346A723-D342-745C-21B1-8B28AC8889D6}"/>
          </ac:spMkLst>
        </pc:spChg>
        <pc:spChg chg="mod">
          <ac:chgData name="Pereira, Ehrlich" userId="2a12278f-896d-490e-8a7f-20e9c9b7238f" providerId="ADAL" clId="{161DF1A2-383C-4786-BB27-C8EF44BD5421}" dt="2025-10-24T07:18:27.365" v="1397" actId="1036"/>
          <ac:spMkLst>
            <pc:docMk/>
            <pc:sldMk cId="2584062419" sldId="2147483529"/>
            <ac:spMk id="56" creationId="{1F9D5DC3-0A87-490D-DE98-2367E64A04D6}"/>
          </ac:spMkLst>
        </pc:spChg>
        <pc:spChg chg="mod">
          <ac:chgData name="Pereira, Ehrlich" userId="2a12278f-896d-490e-8a7f-20e9c9b7238f" providerId="ADAL" clId="{161DF1A2-383C-4786-BB27-C8EF44BD5421}" dt="2025-10-24T07:18:27.365" v="1397" actId="1036"/>
          <ac:spMkLst>
            <pc:docMk/>
            <pc:sldMk cId="2584062419" sldId="2147483529"/>
            <ac:spMk id="60" creationId="{4B854A1F-27F9-3115-0470-6AF949989E98}"/>
          </ac:spMkLst>
        </pc:spChg>
        <pc:spChg chg="mod">
          <ac:chgData name="Pereira, Ehrlich" userId="2a12278f-896d-490e-8a7f-20e9c9b7238f" providerId="ADAL" clId="{161DF1A2-383C-4786-BB27-C8EF44BD5421}" dt="2025-10-24T07:18:27.365" v="1397" actId="1036"/>
          <ac:spMkLst>
            <pc:docMk/>
            <pc:sldMk cId="2584062419" sldId="2147483529"/>
            <ac:spMk id="78" creationId="{7836BAC0-5D79-999A-ADC2-8919CB8B2C2B}"/>
          </ac:spMkLst>
        </pc:spChg>
      </pc:sldChg>
      <pc:sldChg chg="modSp mod">
        <pc:chgData name="Pereira, Ehrlich" userId="2a12278f-896d-490e-8a7f-20e9c9b7238f" providerId="ADAL" clId="{161DF1A2-383C-4786-BB27-C8EF44BD5421}" dt="2025-10-24T07:22:28.490" v="1411" actId="3064"/>
        <pc:sldMkLst>
          <pc:docMk/>
          <pc:sldMk cId="17551018" sldId="2147483530"/>
        </pc:sldMkLst>
        <pc:spChg chg="mod">
          <ac:chgData name="Pereira, Ehrlich" userId="2a12278f-896d-490e-8a7f-20e9c9b7238f" providerId="ADAL" clId="{161DF1A2-383C-4786-BB27-C8EF44BD5421}" dt="2025-10-24T07:22:28.490" v="1411" actId="3064"/>
          <ac:spMkLst>
            <pc:docMk/>
            <pc:sldMk cId="17551018" sldId="2147483530"/>
            <ac:spMk id="38" creationId="{D9E449D0-D435-BF2E-A44F-3426DFE87BCB}"/>
          </ac:spMkLst>
        </pc:spChg>
      </pc:sldChg>
      <pc:sldChg chg="modSp mod">
        <pc:chgData name="Pereira, Ehrlich" userId="2a12278f-896d-490e-8a7f-20e9c9b7238f" providerId="ADAL" clId="{161DF1A2-383C-4786-BB27-C8EF44BD5421}" dt="2025-10-24T07:23:34.564" v="1416" actId="1076"/>
        <pc:sldMkLst>
          <pc:docMk/>
          <pc:sldMk cId="3911131713" sldId="2147483535"/>
        </pc:sldMkLst>
        <pc:spChg chg="mod">
          <ac:chgData name="Pereira, Ehrlich" userId="2a12278f-896d-490e-8a7f-20e9c9b7238f" providerId="ADAL" clId="{161DF1A2-383C-4786-BB27-C8EF44BD5421}" dt="2025-10-24T07:23:34.564" v="1416" actId="1076"/>
          <ac:spMkLst>
            <pc:docMk/>
            <pc:sldMk cId="3911131713" sldId="2147483535"/>
            <ac:spMk id="2" creationId="{8A0E6C1E-81AB-EB91-5FCB-0561B062C314}"/>
          </ac:spMkLst>
        </pc:spChg>
      </pc:sldChg>
    </pc:docChg>
  </pc:docChgLst>
  <pc:docChgLst>
    <pc:chgData name="Koduganti, Adityakrishna" userId="ddd028fb-181a-46e0-8bd4-cebaa93274e0" providerId="ADAL" clId="{FFBECD5D-EBF6-4150-BA34-B65F48E1D2DD}"/>
    <pc:docChg chg="undo custSel addSld modSld modSection">
      <pc:chgData name="Koduganti, Adityakrishna" userId="ddd028fb-181a-46e0-8bd4-cebaa93274e0" providerId="ADAL" clId="{FFBECD5D-EBF6-4150-BA34-B65F48E1D2DD}" dt="2025-10-23T10:04:54.008" v="173" actId="20577"/>
      <pc:docMkLst>
        <pc:docMk/>
      </pc:docMkLst>
      <pc:sldChg chg="addSp modSp add mod">
        <pc:chgData name="Koduganti, Adityakrishna" userId="ddd028fb-181a-46e0-8bd4-cebaa93274e0" providerId="ADAL" clId="{FFBECD5D-EBF6-4150-BA34-B65F48E1D2DD}" dt="2025-10-23T10:04:54.008" v="173" actId="20577"/>
        <pc:sldMkLst>
          <pc:docMk/>
          <pc:sldMk cId="864601595" sldId="2147483537"/>
        </pc:sldMkLst>
        <pc:spChg chg="add mod">
          <ac:chgData name="Koduganti, Adityakrishna" userId="ddd028fb-181a-46e0-8bd4-cebaa93274e0" providerId="ADAL" clId="{FFBECD5D-EBF6-4150-BA34-B65F48E1D2DD}" dt="2025-10-23T08:25:16.198" v="112" actId="20577"/>
          <ac:spMkLst>
            <pc:docMk/>
            <pc:sldMk cId="864601595" sldId="2147483537"/>
            <ac:spMk id="3" creationId="{1708778B-4B31-8C21-6339-9550B4883B13}"/>
          </ac:spMkLst>
        </pc:spChg>
        <pc:spChg chg="add mod">
          <ac:chgData name="Koduganti, Adityakrishna" userId="ddd028fb-181a-46e0-8bd4-cebaa93274e0" providerId="ADAL" clId="{FFBECD5D-EBF6-4150-BA34-B65F48E1D2DD}" dt="2025-10-23T08:12:04.371" v="3"/>
          <ac:spMkLst>
            <pc:docMk/>
            <pc:sldMk cId="864601595" sldId="2147483537"/>
            <ac:spMk id="7" creationId="{ECA9BB7B-5336-121E-8ED6-CCF1FAA5D88A}"/>
          </ac:spMkLst>
        </pc:spChg>
        <pc:spChg chg="add">
          <ac:chgData name="Koduganti, Adityakrishna" userId="ddd028fb-181a-46e0-8bd4-cebaa93274e0" providerId="ADAL" clId="{FFBECD5D-EBF6-4150-BA34-B65F48E1D2DD}" dt="2025-10-23T08:12:19.519" v="4"/>
          <ac:spMkLst>
            <pc:docMk/>
            <pc:sldMk cId="864601595" sldId="2147483537"/>
            <ac:spMk id="8" creationId="{6996B1FF-8386-37C6-5F78-145CA7172231}"/>
          </ac:spMkLst>
        </pc:spChg>
        <pc:spChg chg="mod">
          <ac:chgData name="Koduganti, Adityakrishna" userId="ddd028fb-181a-46e0-8bd4-cebaa93274e0" providerId="ADAL" clId="{FFBECD5D-EBF6-4150-BA34-B65F48E1D2DD}" dt="2025-10-23T10:04:54.008" v="173" actId="20577"/>
          <ac:spMkLst>
            <pc:docMk/>
            <pc:sldMk cId="864601595" sldId="2147483537"/>
            <ac:spMk id="28" creationId="{DC561D4C-003C-2B4E-4347-84A18123C96D}"/>
          </ac:spMkLst>
        </pc:spChg>
      </pc:sldChg>
    </pc:docChg>
  </pc:docChgLst>
  <pc:docChgLst>
    <pc:chgData name="Black, George" userId="37d23977-0548-4955-bd9c-d437d3181865" providerId="ADAL" clId="{160EE8F3-2140-421B-9487-147D2C1D1385}"/>
    <pc:docChg chg="undo redo custSel addSld modSld sldOrd modSection">
      <pc:chgData name="Black, George" userId="37d23977-0548-4955-bd9c-d437d3181865" providerId="ADAL" clId="{160EE8F3-2140-421B-9487-147D2C1D1385}" dt="2025-10-24T20:11:12.922" v="3702" actId="1076"/>
      <pc:docMkLst>
        <pc:docMk/>
      </pc:docMkLst>
      <pc:sldChg chg="modSp mod">
        <pc:chgData name="Black, George" userId="37d23977-0548-4955-bd9c-d437d3181865" providerId="ADAL" clId="{160EE8F3-2140-421B-9487-147D2C1D1385}" dt="2025-10-24T15:45:20.603" v="79" actId="20577"/>
        <pc:sldMkLst>
          <pc:docMk/>
          <pc:sldMk cId="3359619883" sldId="779"/>
        </pc:sldMkLst>
        <pc:graphicFrameChg chg="modGraphic">
          <ac:chgData name="Black, George" userId="37d23977-0548-4955-bd9c-d437d3181865" providerId="ADAL" clId="{160EE8F3-2140-421B-9487-147D2C1D1385}" dt="2025-10-24T15:45:20.603" v="79" actId="20577"/>
          <ac:graphicFrameMkLst>
            <pc:docMk/>
            <pc:sldMk cId="3359619883" sldId="779"/>
            <ac:graphicFrameMk id="2" creationId="{243E2FF1-E2C8-5A4F-98BD-C81E137D579C}"/>
          </ac:graphicFrameMkLst>
        </pc:graphicFrameChg>
      </pc:sldChg>
      <pc:sldChg chg="mod ord modShow">
        <pc:chgData name="Black, George" userId="37d23977-0548-4955-bd9c-d437d3181865" providerId="ADAL" clId="{160EE8F3-2140-421B-9487-147D2C1D1385}" dt="2025-10-24T16:13:30.937" v="635"/>
        <pc:sldMkLst>
          <pc:docMk/>
          <pc:sldMk cId="1602530467" sldId="2147483520"/>
        </pc:sldMkLst>
      </pc:sldChg>
      <pc:sldChg chg="mod ord modShow">
        <pc:chgData name="Black, George" userId="37d23977-0548-4955-bd9c-d437d3181865" providerId="ADAL" clId="{160EE8F3-2140-421B-9487-147D2C1D1385}" dt="2025-10-24T16:13:38.670" v="638"/>
        <pc:sldMkLst>
          <pc:docMk/>
          <pc:sldMk cId="3157811391" sldId="2147483521"/>
        </pc:sldMkLst>
      </pc:sldChg>
      <pc:sldChg chg="mod modShow">
        <pc:chgData name="Black, George" userId="37d23977-0548-4955-bd9c-d437d3181865" providerId="ADAL" clId="{160EE8F3-2140-421B-9487-147D2C1D1385}" dt="2025-10-24T20:09:43.529" v="3676" actId="729"/>
        <pc:sldMkLst>
          <pc:docMk/>
          <pc:sldMk cId="4017980223" sldId="2147483522"/>
        </pc:sldMkLst>
      </pc:sldChg>
      <pc:sldChg chg="mod ord modShow">
        <pc:chgData name="Black, George" userId="37d23977-0548-4955-bd9c-d437d3181865" providerId="ADAL" clId="{160EE8F3-2140-421B-9487-147D2C1D1385}" dt="2025-10-24T20:09:57.211" v="3679" actId="20578"/>
        <pc:sldMkLst>
          <pc:docMk/>
          <pc:sldMk cId="1742964864" sldId="2147483524"/>
        </pc:sldMkLst>
      </pc:sldChg>
      <pc:sldChg chg="modSp mod">
        <pc:chgData name="Black, George" userId="37d23977-0548-4955-bd9c-d437d3181865" providerId="ADAL" clId="{160EE8F3-2140-421B-9487-147D2C1D1385}" dt="2025-10-24T19:31:18.928" v="2073" actId="20577"/>
        <pc:sldMkLst>
          <pc:docMk/>
          <pc:sldMk cId="2843059858" sldId="2147483525"/>
        </pc:sldMkLst>
        <pc:spChg chg="mod">
          <ac:chgData name="Black, George" userId="37d23977-0548-4955-bd9c-d437d3181865" providerId="ADAL" clId="{160EE8F3-2140-421B-9487-147D2C1D1385}" dt="2025-10-24T16:38:03.330" v="695" actId="20577"/>
          <ac:spMkLst>
            <pc:docMk/>
            <pc:sldMk cId="2843059858" sldId="2147483525"/>
            <ac:spMk id="2" creationId="{43E215A7-CCD1-2663-29ED-56AB7380B9F0}"/>
          </ac:spMkLst>
        </pc:spChg>
        <pc:graphicFrameChg chg="mod modGraphic">
          <ac:chgData name="Black, George" userId="37d23977-0548-4955-bd9c-d437d3181865" providerId="ADAL" clId="{160EE8F3-2140-421B-9487-147D2C1D1385}" dt="2025-10-24T19:31:18.928" v="2073" actId="20577"/>
          <ac:graphicFrameMkLst>
            <pc:docMk/>
            <pc:sldMk cId="2843059858" sldId="2147483525"/>
            <ac:graphicFrameMk id="6" creationId="{2F8C853F-1002-3002-D333-CDE5C6580480}"/>
          </ac:graphicFrameMkLst>
        </pc:graphicFrameChg>
      </pc:sldChg>
      <pc:sldChg chg="addSp modSp mod">
        <pc:chgData name="Black, George" userId="37d23977-0548-4955-bd9c-d437d3181865" providerId="ADAL" clId="{160EE8F3-2140-421B-9487-147D2C1D1385}" dt="2025-10-24T16:10:22.089" v="632" actId="1035"/>
        <pc:sldMkLst>
          <pc:docMk/>
          <pc:sldMk cId="2584062419" sldId="2147483529"/>
        </pc:sldMkLst>
        <pc:spChg chg="mod">
          <ac:chgData name="Black, George" userId="37d23977-0548-4955-bd9c-d437d3181865" providerId="ADAL" clId="{160EE8F3-2140-421B-9487-147D2C1D1385}" dt="2025-10-24T15:53:28.060" v="626" actId="20577"/>
          <ac:spMkLst>
            <pc:docMk/>
            <pc:sldMk cId="2584062419" sldId="2147483529"/>
            <ac:spMk id="7" creationId="{E2CA1D53-DE69-7D77-A62B-F1163E021C73}"/>
          </ac:spMkLst>
        </pc:spChg>
        <pc:spChg chg="add mod ord">
          <ac:chgData name="Black, George" userId="37d23977-0548-4955-bd9c-d437d3181865" providerId="ADAL" clId="{160EE8F3-2140-421B-9487-147D2C1D1385}" dt="2025-10-24T15:52:00.919" v="589" actId="166"/>
          <ac:spMkLst>
            <pc:docMk/>
            <pc:sldMk cId="2584062419" sldId="2147483529"/>
            <ac:spMk id="13" creationId="{3D416442-0C15-CE49-CE51-774FAC56D519}"/>
          </ac:spMkLst>
        </pc:spChg>
        <pc:spChg chg="add mod ord">
          <ac:chgData name="Black, George" userId="37d23977-0548-4955-bd9c-d437d3181865" providerId="ADAL" clId="{160EE8F3-2140-421B-9487-147D2C1D1385}" dt="2025-10-24T15:52:00.919" v="589" actId="166"/>
          <ac:spMkLst>
            <pc:docMk/>
            <pc:sldMk cId="2584062419" sldId="2147483529"/>
            <ac:spMk id="14" creationId="{1D99F6CB-BC36-A65A-DF04-0D681EFB2DAA}"/>
          </ac:spMkLst>
        </pc:spChg>
        <pc:spChg chg="mod">
          <ac:chgData name="Black, George" userId="37d23977-0548-4955-bd9c-d437d3181865" providerId="ADAL" clId="{160EE8F3-2140-421B-9487-147D2C1D1385}" dt="2025-10-24T15:52:56.333" v="599" actId="20577"/>
          <ac:spMkLst>
            <pc:docMk/>
            <pc:sldMk cId="2584062419" sldId="2147483529"/>
            <ac:spMk id="17" creationId="{EDB73775-3869-6200-4FC2-5E7387C92219}"/>
          </ac:spMkLst>
        </pc:spChg>
        <pc:spChg chg="mod">
          <ac:chgData name="Black, George" userId="37d23977-0548-4955-bd9c-d437d3181865" providerId="ADAL" clId="{160EE8F3-2140-421B-9487-147D2C1D1385}" dt="2025-10-24T15:51:44.659" v="584" actId="20577"/>
          <ac:spMkLst>
            <pc:docMk/>
            <pc:sldMk cId="2584062419" sldId="2147483529"/>
            <ac:spMk id="27" creationId="{AFBA49AB-12C5-560D-304E-C11DDC1588A2}"/>
          </ac:spMkLst>
        </pc:spChg>
        <pc:spChg chg="mod">
          <ac:chgData name="Black, George" userId="37d23977-0548-4955-bd9c-d437d3181865" providerId="ADAL" clId="{160EE8F3-2140-421B-9487-147D2C1D1385}" dt="2025-10-24T15:50:26.904" v="568" actId="1076"/>
          <ac:spMkLst>
            <pc:docMk/>
            <pc:sldMk cId="2584062419" sldId="2147483529"/>
            <ac:spMk id="29" creationId="{1C65DC4F-8569-68E4-15BB-588BE7004E72}"/>
          </ac:spMkLst>
        </pc:spChg>
        <pc:spChg chg="mod">
          <ac:chgData name="Black, George" userId="37d23977-0548-4955-bd9c-d437d3181865" providerId="ADAL" clId="{160EE8F3-2140-421B-9487-147D2C1D1385}" dt="2025-10-24T16:10:22.089" v="632" actId="1035"/>
          <ac:spMkLst>
            <pc:docMk/>
            <pc:sldMk cId="2584062419" sldId="2147483529"/>
            <ac:spMk id="78" creationId="{7836BAC0-5D79-999A-ADC2-8919CB8B2C2B}"/>
          </ac:spMkLst>
        </pc:spChg>
        <pc:cxnChg chg="add mod ord">
          <ac:chgData name="Black, George" userId="37d23977-0548-4955-bd9c-d437d3181865" providerId="ADAL" clId="{160EE8F3-2140-421B-9487-147D2C1D1385}" dt="2025-10-24T15:51:20.412" v="582" actId="166"/>
          <ac:cxnSpMkLst>
            <pc:docMk/>
            <pc:sldMk cId="2584062419" sldId="2147483529"/>
            <ac:cxnSpMk id="9" creationId="{B3736788-B675-44EF-96B7-09178CCB10EF}"/>
          </ac:cxnSpMkLst>
        </pc:cxnChg>
        <pc:cxnChg chg="mod">
          <ac:chgData name="Black, George" userId="37d23977-0548-4955-bd9c-d437d3181865" providerId="ADAL" clId="{160EE8F3-2140-421B-9487-147D2C1D1385}" dt="2025-10-24T15:50:26.904" v="568" actId="1076"/>
          <ac:cxnSpMkLst>
            <pc:docMk/>
            <pc:sldMk cId="2584062419" sldId="2147483529"/>
            <ac:cxnSpMk id="25" creationId="{A0E31287-95FF-1D35-38F8-4501CA2F6155}"/>
          </ac:cxnSpMkLst>
        </pc:cxnChg>
      </pc:sldChg>
      <pc:sldChg chg="modSp mod">
        <pc:chgData name="Black, George" userId="37d23977-0548-4955-bd9c-d437d3181865" providerId="ADAL" clId="{160EE8F3-2140-421B-9487-147D2C1D1385}" dt="2025-10-24T16:51:47.749" v="1015" actId="20577"/>
        <pc:sldMkLst>
          <pc:docMk/>
          <pc:sldMk cId="17551018" sldId="2147483530"/>
        </pc:sldMkLst>
        <pc:graphicFrameChg chg="mod modGraphic">
          <ac:chgData name="Black, George" userId="37d23977-0548-4955-bd9c-d437d3181865" providerId="ADAL" clId="{160EE8F3-2140-421B-9487-147D2C1D1385}" dt="2025-10-24T16:51:47.749" v="1015" actId="20577"/>
          <ac:graphicFrameMkLst>
            <pc:docMk/>
            <pc:sldMk cId="17551018" sldId="2147483530"/>
            <ac:graphicFrameMk id="5" creationId="{18306976-431F-764B-70B2-F93DD3ADCB12}"/>
          </ac:graphicFrameMkLst>
        </pc:graphicFrameChg>
      </pc:sldChg>
      <pc:sldChg chg="modSp mod">
        <pc:chgData name="Black, George" userId="37d23977-0548-4955-bd9c-d437d3181865" providerId="ADAL" clId="{160EE8F3-2140-421B-9487-147D2C1D1385}" dt="2025-10-24T19:46:38.336" v="3515" actId="1076"/>
        <pc:sldMkLst>
          <pc:docMk/>
          <pc:sldMk cId="2579967293" sldId="2147483534"/>
        </pc:sldMkLst>
        <pc:graphicFrameChg chg="mod modGraphic">
          <ac:chgData name="Black, George" userId="37d23977-0548-4955-bd9c-d437d3181865" providerId="ADAL" clId="{160EE8F3-2140-421B-9487-147D2C1D1385}" dt="2025-10-24T19:46:38.336" v="3515" actId="1076"/>
          <ac:graphicFrameMkLst>
            <pc:docMk/>
            <pc:sldMk cId="2579967293" sldId="2147483534"/>
            <ac:graphicFrameMk id="6" creationId="{A4A3FA6E-5B83-2AB2-E7EE-74277D4DA703}"/>
          </ac:graphicFrameMkLst>
        </pc:graphicFrameChg>
      </pc:sldChg>
      <pc:sldChg chg="mod ord modShow">
        <pc:chgData name="Black, George" userId="37d23977-0548-4955-bd9c-d437d3181865" providerId="ADAL" clId="{160EE8F3-2140-421B-9487-147D2C1D1385}" dt="2025-10-24T20:09:58.911" v="3680" actId="20578"/>
        <pc:sldMkLst>
          <pc:docMk/>
          <pc:sldMk cId="3911131713" sldId="2147483535"/>
        </pc:sldMkLst>
      </pc:sldChg>
      <pc:sldChg chg="modSp mod">
        <pc:chgData name="Black, George" userId="37d23977-0548-4955-bd9c-d437d3181865" providerId="ADAL" clId="{160EE8F3-2140-421B-9487-147D2C1D1385}" dt="2025-10-24T20:08:40.954" v="3675" actId="20577"/>
        <pc:sldMkLst>
          <pc:docMk/>
          <pc:sldMk cId="864601595" sldId="2147483537"/>
        </pc:sldMkLst>
        <pc:spChg chg="mod">
          <ac:chgData name="Black, George" userId="37d23977-0548-4955-bd9c-d437d3181865" providerId="ADAL" clId="{160EE8F3-2140-421B-9487-147D2C1D1385}" dt="2025-10-24T20:08:40.954" v="3675" actId="20577"/>
          <ac:spMkLst>
            <pc:docMk/>
            <pc:sldMk cId="864601595" sldId="2147483537"/>
            <ac:spMk id="3" creationId="{1708778B-4B31-8C21-6339-9550B4883B13}"/>
          </ac:spMkLst>
        </pc:spChg>
        <pc:spChg chg="mod">
          <ac:chgData name="Black, George" userId="37d23977-0548-4955-bd9c-d437d3181865" providerId="ADAL" clId="{160EE8F3-2140-421B-9487-147D2C1D1385}" dt="2025-10-24T19:56:10.414" v="3517" actId="20577"/>
          <ac:spMkLst>
            <pc:docMk/>
            <pc:sldMk cId="864601595" sldId="2147483537"/>
            <ac:spMk id="9" creationId="{62360467-5683-4464-885A-CA423BF082EB}"/>
          </ac:spMkLst>
        </pc:spChg>
        <pc:spChg chg="mod">
          <ac:chgData name="Black, George" userId="37d23977-0548-4955-bd9c-d437d3181865" providerId="ADAL" clId="{160EE8F3-2140-421B-9487-147D2C1D1385}" dt="2025-10-24T19:58:21.995" v="3526" actId="20577"/>
          <ac:spMkLst>
            <pc:docMk/>
            <pc:sldMk cId="864601595" sldId="2147483537"/>
            <ac:spMk id="33" creationId="{FE1A0CD6-136D-511E-CC16-BF4B63D298AC}"/>
          </ac:spMkLst>
        </pc:spChg>
      </pc:sldChg>
      <pc:sldChg chg="modSp mod">
        <pc:chgData name="Black, George" userId="37d23977-0548-4955-bd9c-d437d3181865" providerId="ADAL" clId="{160EE8F3-2140-421B-9487-147D2C1D1385}" dt="2025-10-24T19:43:39.483" v="3431" actId="6549"/>
        <pc:sldMkLst>
          <pc:docMk/>
          <pc:sldMk cId="2763408182" sldId="2147483538"/>
        </pc:sldMkLst>
        <pc:spChg chg="mod">
          <ac:chgData name="Black, George" userId="37d23977-0548-4955-bd9c-d437d3181865" providerId="ADAL" clId="{160EE8F3-2140-421B-9487-147D2C1D1385}" dt="2025-10-24T19:32:29.824" v="2158" actId="20577"/>
          <ac:spMkLst>
            <pc:docMk/>
            <pc:sldMk cId="2763408182" sldId="2147483538"/>
            <ac:spMk id="2" creationId="{30834EB4-1863-3954-980E-D952452C9BF0}"/>
          </ac:spMkLst>
        </pc:spChg>
        <pc:spChg chg="mod">
          <ac:chgData name="Black, George" userId="37d23977-0548-4955-bd9c-d437d3181865" providerId="ADAL" clId="{160EE8F3-2140-421B-9487-147D2C1D1385}" dt="2025-10-24T19:31:59.961" v="2112" actId="20577"/>
          <ac:spMkLst>
            <pc:docMk/>
            <pc:sldMk cId="2763408182" sldId="2147483538"/>
            <ac:spMk id="3" creationId="{F4791170-67C3-5748-4FCF-C2B1FF63F2CC}"/>
          </ac:spMkLst>
        </pc:spChg>
        <pc:graphicFrameChg chg="mod modGraphic">
          <ac:chgData name="Black, George" userId="37d23977-0548-4955-bd9c-d437d3181865" providerId="ADAL" clId="{160EE8F3-2140-421B-9487-147D2C1D1385}" dt="2025-10-24T19:43:39.483" v="3431" actId="6549"/>
          <ac:graphicFrameMkLst>
            <pc:docMk/>
            <pc:sldMk cId="2763408182" sldId="2147483538"/>
            <ac:graphicFrameMk id="6" creationId="{8158C319-523C-696B-DB4E-95FA0BFF3D1C}"/>
          </ac:graphicFrameMkLst>
        </pc:graphicFrameChg>
      </pc:sldChg>
      <pc:sldChg chg="addSp delSp modSp add mod">
        <pc:chgData name="Black, George" userId="37d23977-0548-4955-bd9c-d437d3181865" providerId="ADAL" clId="{160EE8F3-2140-421B-9487-147D2C1D1385}" dt="2025-10-24T20:11:12.922" v="3702" actId="1076"/>
        <pc:sldMkLst>
          <pc:docMk/>
          <pc:sldMk cId="3535246994" sldId="2147483539"/>
        </pc:sldMkLst>
        <pc:spChg chg="del">
          <ac:chgData name="Black, George" userId="37d23977-0548-4955-bd9c-d437d3181865" providerId="ADAL" clId="{160EE8F3-2140-421B-9487-147D2C1D1385}" dt="2025-10-24T20:10:42.677" v="3696" actId="478"/>
          <ac:spMkLst>
            <pc:docMk/>
            <pc:sldMk cId="3535246994" sldId="2147483539"/>
            <ac:spMk id="2" creationId="{F010C3AC-50E9-2465-4CCE-F358E1C5F042}"/>
          </ac:spMkLst>
        </pc:spChg>
        <pc:spChg chg="mod">
          <ac:chgData name="Black, George" userId="37d23977-0548-4955-bd9c-d437d3181865" providerId="ADAL" clId="{160EE8F3-2140-421B-9487-147D2C1D1385}" dt="2025-10-24T20:10:39.682" v="3695" actId="6549"/>
          <ac:spMkLst>
            <pc:docMk/>
            <pc:sldMk cId="3535246994" sldId="2147483539"/>
            <ac:spMk id="3" creationId="{C3F7357E-6C73-65B7-82B2-D1AAAFFA5671}"/>
          </ac:spMkLst>
        </pc:spChg>
        <pc:spChg chg="mod">
          <ac:chgData name="Black, George" userId="37d23977-0548-4955-bd9c-d437d3181865" providerId="ADAL" clId="{160EE8F3-2140-421B-9487-147D2C1D1385}" dt="2025-10-24T20:11:12.922" v="3702" actId="1076"/>
          <ac:spMkLst>
            <pc:docMk/>
            <pc:sldMk cId="3535246994" sldId="2147483539"/>
            <ac:spMk id="4" creationId="{B9D3D166-1303-EF6A-49EF-DB1FB55CF5D1}"/>
          </ac:spMkLst>
        </pc:spChg>
        <pc:spChg chg="del">
          <ac:chgData name="Black, George" userId="37d23977-0548-4955-bd9c-d437d3181865" providerId="ADAL" clId="{160EE8F3-2140-421B-9487-147D2C1D1385}" dt="2025-10-24T20:10:33.518" v="3694" actId="478"/>
          <ac:spMkLst>
            <pc:docMk/>
            <pc:sldMk cId="3535246994" sldId="2147483539"/>
            <ac:spMk id="5" creationId="{AC32E08B-58EB-C8F7-B04B-7C0EE4E19039}"/>
          </ac:spMkLst>
        </pc:spChg>
        <pc:spChg chg="del">
          <ac:chgData name="Black, George" userId="37d23977-0548-4955-bd9c-d437d3181865" providerId="ADAL" clId="{160EE8F3-2140-421B-9487-147D2C1D1385}" dt="2025-10-24T20:10:46.592" v="3698" actId="478"/>
          <ac:spMkLst>
            <pc:docMk/>
            <pc:sldMk cId="3535246994" sldId="2147483539"/>
            <ac:spMk id="7" creationId="{FCE60A04-F171-96EC-50E9-86B7274653DA}"/>
          </ac:spMkLst>
        </pc:spChg>
        <pc:spChg chg="add del mod">
          <ac:chgData name="Black, George" userId="37d23977-0548-4955-bd9c-d437d3181865" providerId="ADAL" clId="{160EE8F3-2140-421B-9487-147D2C1D1385}" dt="2025-10-24T20:10:44.336" v="3697" actId="478"/>
          <ac:spMkLst>
            <pc:docMk/>
            <pc:sldMk cId="3535246994" sldId="2147483539"/>
            <ac:spMk id="13" creationId="{0B165B53-D8FD-D6C4-B74F-9AF984968BE3}"/>
          </ac:spMkLst>
        </pc:spChg>
        <pc:spChg chg="mod">
          <ac:chgData name="Black, George" userId="37d23977-0548-4955-bd9c-d437d3181865" providerId="ADAL" clId="{160EE8F3-2140-421B-9487-147D2C1D1385}" dt="2025-10-24T20:11:05.256" v="3701" actId="1076"/>
          <ac:spMkLst>
            <pc:docMk/>
            <pc:sldMk cId="3535246994" sldId="2147483539"/>
            <ac:spMk id="101" creationId="{84B5F30C-B4BA-012E-17D6-166C57DE009D}"/>
          </ac:spMkLst>
        </pc:spChg>
        <pc:spChg chg="mod">
          <ac:chgData name="Black, George" userId="37d23977-0548-4955-bd9c-d437d3181865" providerId="ADAL" clId="{160EE8F3-2140-421B-9487-147D2C1D1385}" dt="2025-10-24T20:11:05.256" v="3701" actId="1076"/>
          <ac:spMkLst>
            <pc:docMk/>
            <pc:sldMk cId="3535246994" sldId="2147483539"/>
            <ac:spMk id="111" creationId="{B030C467-3051-AA72-E8E4-9CFABB32AA66}"/>
          </ac:spMkLst>
        </pc:spChg>
        <pc:spChg chg="mod">
          <ac:chgData name="Black, George" userId="37d23977-0548-4955-bd9c-d437d3181865" providerId="ADAL" clId="{160EE8F3-2140-421B-9487-147D2C1D1385}" dt="2025-10-24T20:11:05.256" v="3701" actId="1076"/>
          <ac:spMkLst>
            <pc:docMk/>
            <pc:sldMk cId="3535246994" sldId="2147483539"/>
            <ac:spMk id="113" creationId="{F2A04A69-32E1-F77C-0952-2C8BAA29FA71}"/>
          </ac:spMkLst>
        </pc:spChg>
        <pc:spChg chg="mod">
          <ac:chgData name="Black, George" userId="37d23977-0548-4955-bd9c-d437d3181865" providerId="ADAL" clId="{160EE8F3-2140-421B-9487-147D2C1D1385}" dt="2025-10-24T20:11:05.256" v="3701" actId="1076"/>
          <ac:spMkLst>
            <pc:docMk/>
            <pc:sldMk cId="3535246994" sldId="2147483539"/>
            <ac:spMk id="114" creationId="{9453C1CE-CE09-3A57-0DA3-2DDBADBA3798}"/>
          </ac:spMkLst>
        </pc:spChg>
        <pc:spChg chg="mod">
          <ac:chgData name="Black, George" userId="37d23977-0548-4955-bd9c-d437d3181865" providerId="ADAL" clId="{160EE8F3-2140-421B-9487-147D2C1D1385}" dt="2025-10-24T20:11:05.256" v="3701" actId="1076"/>
          <ac:spMkLst>
            <pc:docMk/>
            <pc:sldMk cId="3535246994" sldId="2147483539"/>
            <ac:spMk id="119" creationId="{EB007476-CE88-7EAC-09A2-D4EDFBB1535E}"/>
          </ac:spMkLst>
        </pc:spChg>
        <pc:spChg chg="mod">
          <ac:chgData name="Black, George" userId="37d23977-0548-4955-bd9c-d437d3181865" providerId="ADAL" clId="{160EE8F3-2140-421B-9487-147D2C1D1385}" dt="2025-10-24T20:11:05.256" v="3701" actId="1076"/>
          <ac:spMkLst>
            <pc:docMk/>
            <pc:sldMk cId="3535246994" sldId="2147483539"/>
            <ac:spMk id="148" creationId="{A7FF21FD-6897-50C0-6F64-352F39C8C9E1}"/>
          </ac:spMkLst>
        </pc:spChg>
        <pc:spChg chg="mod">
          <ac:chgData name="Black, George" userId="37d23977-0548-4955-bd9c-d437d3181865" providerId="ADAL" clId="{160EE8F3-2140-421B-9487-147D2C1D1385}" dt="2025-10-24T20:11:05.256" v="3701" actId="1076"/>
          <ac:spMkLst>
            <pc:docMk/>
            <pc:sldMk cId="3535246994" sldId="2147483539"/>
            <ac:spMk id="149" creationId="{8CC8E6D6-CD65-9623-E5B3-DF8EDC86999F}"/>
          </ac:spMkLst>
        </pc:spChg>
        <pc:spChg chg="mod">
          <ac:chgData name="Black, George" userId="37d23977-0548-4955-bd9c-d437d3181865" providerId="ADAL" clId="{160EE8F3-2140-421B-9487-147D2C1D1385}" dt="2025-10-24T20:11:05.256" v="3701" actId="1076"/>
          <ac:spMkLst>
            <pc:docMk/>
            <pc:sldMk cId="3535246994" sldId="2147483539"/>
            <ac:spMk id="150" creationId="{2177C2E5-022C-B496-3C1C-E80EC0721DB6}"/>
          </ac:spMkLst>
        </pc:spChg>
        <pc:spChg chg="mod">
          <ac:chgData name="Black, George" userId="37d23977-0548-4955-bd9c-d437d3181865" providerId="ADAL" clId="{160EE8F3-2140-421B-9487-147D2C1D1385}" dt="2025-10-24T20:11:05.256" v="3701" actId="1076"/>
          <ac:spMkLst>
            <pc:docMk/>
            <pc:sldMk cId="3535246994" sldId="2147483539"/>
            <ac:spMk id="151" creationId="{913FC9AC-CB44-D855-72F1-A3AFDBABCCC3}"/>
          </ac:spMkLst>
        </pc:spChg>
      </pc:sldChg>
    </pc:docChg>
  </pc:docChgLst>
  <pc:docChgLst>
    <pc:chgData name="Brown, Peter" userId="1fdb1ee8-8e96-4b5f-be45-20a3ddd4ef34" providerId="ADAL" clId="{2E978230-D457-4CE9-9047-FEA6E23BDB15}"/>
    <pc:docChg chg="undo custSel addSld delSld modSld sldOrd modSection">
      <pc:chgData name="Brown, Peter" userId="1fdb1ee8-8e96-4b5f-be45-20a3ddd4ef34" providerId="ADAL" clId="{2E978230-D457-4CE9-9047-FEA6E23BDB15}" dt="2025-10-24T18:44:20.030" v="7575" actId="20577"/>
      <pc:docMkLst>
        <pc:docMk/>
      </pc:docMkLst>
      <pc:sldChg chg="modSp mod">
        <pc:chgData name="Brown, Peter" userId="1fdb1ee8-8e96-4b5f-be45-20a3ddd4ef34" providerId="ADAL" clId="{2E978230-D457-4CE9-9047-FEA6E23BDB15}" dt="2025-10-23T13:10:34.805" v="4751" actId="122"/>
        <pc:sldMkLst>
          <pc:docMk/>
          <pc:sldMk cId="3359619883" sldId="779"/>
        </pc:sldMkLst>
        <pc:graphicFrameChg chg="mod modGraphic">
          <ac:chgData name="Brown, Peter" userId="1fdb1ee8-8e96-4b5f-be45-20a3ddd4ef34" providerId="ADAL" clId="{2E978230-D457-4CE9-9047-FEA6E23BDB15}" dt="2025-10-23T13:10:34.805" v="4751" actId="122"/>
          <ac:graphicFrameMkLst>
            <pc:docMk/>
            <pc:sldMk cId="3359619883" sldId="779"/>
            <ac:graphicFrameMk id="2" creationId="{243E2FF1-E2C8-5A4F-98BD-C81E137D579C}"/>
          </ac:graphicFrameMkLst>
        </pc:graphicFrameChg>
      </pc:sldChg>
      <pc:sldChg chg="ord">
        <pc:chgData name="Brown, Peter" userId="1fdb1ee8-8e96-4b5f-be45-20a3ddd4ef34" providerId="ADAL" clId="{2E978230-D457-4CE9-9047-FEA6E23BDB15}" dt="2025-10-23T12:55:39.290" v="4613"/>
        <pc:sldMkLst>
          <pc:docMk/>
          <pc:sldMk cId="767592191" sldId="2142532780"/>
        </pc:sldMkLst>
      </pc:sldChg>
      <pc:sldChg chg="addSp modSp mod ord">
        <pc:chgData name="Brown, Peter" userId="1fdb1ee8-8e96-4b5f-be45-20a3ddd4ef34" providerId="ADAL" clId="{2E978230-D457-4CE9-9047-FEA6E23BDB15}" dt="2025-10-24T18:07:26.293" v="6649"/>
        <pc:sldMkLst>
          <pc:docMk/>
          <pc:sldMk cId="4017980223" sldId="2147483522"/>
        </pc:sldMkLst>
        <pc:spChg chg="mod">
          <ac:chgData name="Brown, Peter" userId="1fdb1ee8-8e96-4b5f-be45-20a3ddd4ef34" providerId="ADAL" clId="{2E978230-D457-4CE9-9047-FEA6E23BDB15}" dt="2025-10-21T19:22:49.651" v="359" actId="14100"/>
          <ac:spMkLst>
            <pc:docMk/>
            <pc:sldMk cId="4017980223" sldId="2147483522"/>
            <ac:spMk id="3" creationId="{B44F79BC-A8BB-132C-7F93-C2E39219B7C4}"/>
          </ac:spMkLst>
        </pc:spChg>
        <pc:spChg chg="mod">
          <ac:chgData name="Brown, Peter" userId="1fdb1ee8-8e96-4b5f-be45-20a3ddd4ef34" providerId="ADAL" clId="{2E978230-D457-4CE9-9047-FEA6E23BDB15}" dt="2025-10-21T19:25:13.702" v="531" actId="14100"/>
          <ac:spMkLst>
            <pc:docMk/>
            <pc:sldMk cId="4017980223" sldId="2147483522"/>
            <ac:spMk id="4" creationId="{9EC4319B-C211-3CF8-06BA-2724691D28B2}"/>
          </ac:spMkLst>
        </pc:spChg>
        <pc:spChg chg="mod">
          <ac:chgData name="Brown, Peter" userId="1fdb1ee8-8e96-4b5f-be45-20a3ddd4ef34" providerId="ADAL" clId="{2E978230-D457-4CE9-9047-FEA6E23BDB15}" dt="2025-10-21T19:20:08.062" v="358" actId="555"/>
          <ac:spMkLst>
            <pc:docMk/>
            <pc:sldMk cId="4017980223" sldId="2147483522"/>
            <ac:spMk id="7" creationId="{A9116176-1F32-28EE-A8C0-F5155CFAFA98}"/>
          </ac:spMkLst>
        </pc:spChg>
        <pc:spChg chg="mod">
          <ac:chgData name="Brown, Peter" userId="1fdb1ee8-8e96-4b5f-be45-20a3ddd4ef34" providerId="ADAL" clId="{2E978230-D457-4CE9-9047-FEA6E23BDB15}" dt="2025-10-21T19:19:34.355" v="350" actId="2710"/>
          <ac:spMkLst>
            <pc:docMk/>
            <pc:sldMk cId="4017980223" sldId="2147483522"/>
            <ac:spMk id="10" creationId="{9F3F85FE-C98B-87B7-B114-88794E422991}"/>
          </ac:spMkLst>
        </pc:spChg>
        <pc:spChg chg="mod">
          <ac:chgData name="Brown, Peter" userId="1fdb1ee8-8e96-4b5f-be45-20a3ddd4ef34" providerId="ADAL" clId="{2E978230-D457-4CE9-9047-FEA6E23BDB15}" dt="2025-10-21T19:19:48.290" v="352" actId="13926"/>
          <ac:spMkLst>
            <pc:docMk/>
            <pc:sldMk cId="4017980223" sldId="2147483522"/>
            <ac:spMk id="11" creationId="{BD7D1628-0925-1084-1389-8F09914E9549}"/>
          </ac:spMkLst>
        </pc:spChg>
        <pc:spChg chg="mod">
          <ac:chgData name="Brown, Peter" userId="1fdb1ee8-8e96-4b5f-be45-20a3ddd4ef34" providerId="ADAL" clId="{2E978230-D457-4CE9-9047-FEA6E23BDB15}" dt="2025-10-21T19:23:00.897" v="361" actId="1076"/>
          <ac:spMkLst>
            <pc:docMk/>
            <pc:sldMk cId="4017980223" sldId="2147483522"/>
            <ac:spMk id="12" creationId="{AD89648D-A37D-78E5-EC14-F5497F2772A2}"/>
          </ac:spMkLst>
        </pc:spChg>
        <pc:spChg chg="mod">
          <ac:chgData name="Brown, Peter" userId="1fdb1ee8-8e96-4b5f-be45-20a3ddd4ef34" providerId="ADAL" clId="{2E978230-D457-4CE9-9047-FEA6E23BDB15}" dt="2025-10-21T19:23:00.897" v="361" actId="1076"/>
          <ac:spMkLst>
            <pc:docMk/>
            <pc:sldMk cId="4017980223" sldId="2147483522"/>
            <ac:spMk id="13" creationId="{63280FFB-15AE-D31E-1B4B-AD53FD600E80}"/>
          </ac:spMkLst>
        </pc:spChg>
        <pc:spChg chg="mod">
          <ac:chgData name="Brown, Peter" userId="1fdb1ee8-8e96-4b5f-be45-20a3ddd4ef34" providerId="ADAL" clId="{2E978230-D457-4CE9-9047-FEA6E23BDB15}" dt="2025-10-21T19:23:00.897" v="361" actId="1076"/>
          <ac:spMkLst>
            <pc:docMk/>
            <pc:sldMk cId="4017980223" sldId="2147483522"/>
            <ac:spMk id="15" creationId="{2789CAD2-97FD-2E68-4CED-FE89747643F4}"/>
          </ac:spMkLst>
        </pc:spChg>
        <pc:spChg chg="mod">
          <ac:chgData name="Brown, Peter" userId="1fdb1ee8-8e96-4b5f-be45-20a3ddd4ef34" providerId="ADAL" clId="{2E978230-D457-4CE9-9047-FEA6E23BDB15}" dt="2025-10-21T19:23:00.897" v="361" actId="1076"/>
          <ac:spMkLst>
            <pc:docMk/>
            <pc:sldMk cId="4017980223" sldId="2147483522"/>
            <ac:spMk id="16" creationId="{7122D61A-7943-C076-E479-DB5DE80D2D79}"/>
          </ac:spMkLst>
        </pc:spChg>
        <pc:spChg chg="mod">
          <ac:chgData name="Brown, Peter" userId="1fdb1ee8-8e96-4b5f-be45-20a3ddd4ef34" providerId="ADAL" clId="{2E978230-D457-4CE9-9047-FEA6E23BDB15}" dt="2025-10-21T19:20:08.062" v="358" actId="555"/>
          <ac:spMkLst>
            <pc:docMk/>
            <pc:sldMk cId="4017980223" sldId="2147483522"/>
            <ac:spMk id="17" creationId="{24634836-7ADE-C9EB-7F88-A78D4CCC8D81}"/>
          </ac:spMkLst>
        </pc:spChg>
        <pc:spChg chg="mod">
          <ac:chgData name="Brown, Peter" userId="1fdb1ee8-8e96-4b5f-be45-20a3ddd4ef34" providerId="ADAL" clId="{2E978230-D457-4CE9-9047-FEA6E23BDB15}" dt="2025-10-21T19:23:00.897" v="361" actId="1076"/>
          <ac:spMkLst>
            <pc:docMk/>
            <pc:sldMk cId="4017980223" sldId="2147483522"/>
            <ac:spMk id="18" creationId="{97FB7AB9-8664-69AD-0741-EA16D1F58A12}"/>
          </ac:spMkLst>
        </pc:spChg>
        <pc:spChg chg="mod">
          <ac:chgData name="Brown, Peter" userId="1fdb1ee8-8e96-4b5f-be45-20a3ddd4ef34" providerId="ADAL" clId="{2E978230-D457-4CE9-9047-FEA6E23BDB15}" dt="2025-10-21T19:23:00.897" v="361" actId="1076"/>
          <ac:spMkLst>
            <pc:docMk/>
            <pc:sldMk cId="4017980223" sldId="2147483522"/>
            <ac:spMk id="20" creationId="{65646699-8A64-F294-B909-9281736481CC}"/>
          </ac:spMkLst>
        </pc:spChg>
        <pc:spChg chg="add mod">
          <ac:chgData name="Brown, Peter" userId="1fdb1ee8-8e96-4b5f-be45-20a3ddd4ef34" providerId="ADAL" clId="{2E978230-D457-4CE9-9047-FEA6E23BDB15}" dt="2025-10-21T17:36:18.583" v="105" actId="6549"/>
          <ac:spMkLst>
            <pc:docMk/>
            <pc:sldMk cId="4017980223" sldId="2147483522"/>
            <ac:spMk id="21" creationId="{3652E8D1-854E-3D27-8C91-0F5FCAB8674F}"/>
          </ac:spMkLst>
        </pc:spChg>
        <pc:spChg chg="add mod">
          <ac:chgData name="Brown, Peter" userId="1fdb1ee8-8e96-4b5f-be45-20a3ddd4ef34" providerId="ADAL" clId="{2E978230-D457-4CE9-9047-FEA6E23BDB15}" dt="2025-10-21T19:23:00.897" v="361" actId="1076"/>
          <ac:spMkLst>
            <pc:docMk/>
            <pc:sldMk cId="4017980223" sldId="2147483522"/>
            <ac:spMk id="22" creationId="{34FA4823-CA3D-9D18-C285-9A8CE29A97AB}"/>
          </ac:spMkLst>
        </pc:spChg>
        <pc:spChg chg="add mod">
          <ac:chgData name="Brown, Peter" userId="1fdb1ee8-8e96-4b5f-be45-20a3ddd4ef34" providerId="ADAL" clId="{2E978230-D457-4CE9-9047-FEA6E23BDB15}" dt="2025-10-21T19:28:40.540" v="847" actId="20577"/>
          <ac:spMkLst>
            <pc:docMk/>
            <pc:sldMk cId="4017980223" sldId="2147483522"/>
            <ac:spMk id="24" creationId="{A0564170-0111-5EAA-BFAC-643142C8A327}"/>
          </ac:spMkLst>
        </pc:spChg>
        <pc:cxnChg chg="mod">
          <ac:chgData name="Brown, Peter" userId="1fdb1ee8-8e96-4b5f-be45-20a3ddd4ef34" providerId="ADAL" clId="{2E978230-D457-4CE9-9047-FEA6E23BDB15}" dt="2025-10-21T19:22:53.721" v="360" actId="1076"/>
          <ac:cxnSpMkLst>
            <pc:docMk/>
            <pc:sldMk cId="4017980223" sldId="2147483522"/>
            <ac:cxnSpMk id="9" creationId="{C0634C39-AEF8-0991-3F4B-506E11BE8DA0}"/>
          </ac:cxnSpMkLst>
        </pc:cxnChg>
        <pc:cxnChg chg="mod">
          <ac:chgData name="Brown, Peter" userId="1fdb1ee8-8e96-4b5f-be45-20a3ddd4ef34" providerId="ADAL" clId="{2E978230-D457-4CE9-9047-FEA6E23BDB15}" dt="2025-10-21T19:23:05.155" v="362" actId="14100"/>
          <ac:cxnSpMkLst>
            <pc:docMk/>
            <pc:sldMk cId="4017980223" sldId="2147483522"/>
            <ac:cxnSpMk id="14" creationId="{164AFCC8-8196-2F3D-1053-0D62220A2339}"/>
          </ac:cxnSpMkLst>
        </pc:cxnChg>
      </pc:sldChg>
      <pc:sldChg chg="addSp delSp modSp mod">
        <pc:chgData name="Brown, Peter" userId="1fdb1ee8-8e96-4b5f-be45-20a3ddd4ef34" providerId="ADAL" clId="{2E978230-D457-4CE9-9047-FEA6E23BDB15}" dt="2025-10-24T18:06:59.150" v="6647" actId="20577"/>
        <pc:sldMkLst>
          <pc:docMk/>
          <pc:sldMk cId="2843059858" sldId="2147483525"/>
        </pc:sldMkLst>
        <pc:spChg chg="mod">
          <ac:chgData name="Brown, Peter" userId="1fdb1ee8-8e96-4b5f-be45-20a3ddd4ef34" providerId="ADAL" clId="{2E978230-D457-4CE9-9047-FEA6E23BDB15}" dt="2025-10-22T21:09:55.610" v="4334" actId="1076"/>
          <ac:spMkLst>
            <pc:docMk/>
            <pc:sldMk cId="2843059858" sldId="2147483525"/>
            <ac:spMk id="3" creationId="{21D2E374-0567-67D7-D101-C50D195D1415}"/>
          </ac:spMkLst>
        </pc:spChg>
        <pc:graphicFrameChg chg="mod modGraphic">
          <ac:chgData name="Brown, Peter" userId="1fdb1ee8-8e96-4b5f-be45-20a3ddd4ef34" providerId="ADAL" clId="{2E978230-D457-4CE9-9047-FEA6E23BDB15}" dt="2025-10-24T18:06:59.150" v="6647" actId="20577"/>
          <ac:graphicFrameMkLst>
            <pc:docMk/>
            <pc:sldMk cId="2843059858" sldId="2147483525"/>
            <ac:graphicFrameMk id="6" creationId="{2F8C853F-1002-3002-D333-CDE5C6580480}"/>
          </ac:graphicFrameMkLst>
        </pc:graphicFrameChg>
      </pc:sldChg>
      <pc:sldChg chg="ord">
        <pc:chgData name="Brown, Peter" userId="1fdb1ee8-8e96-4b5f-be45-20a3ddd4ef34" providerId="ADAL" clId="{2E978230-D457-4CE9-9047-FEA6E23BDB15}" dt="2025-10-21T19:41:30.574" v="1082"/>
        <pc:sldMkLst>
          <pc:docMk/>
          <pc:sldMk cId="418558852" sldId="2147483526"/>
        </pc:sldMkLst>
      </pc:sldChg>
      <pc:sldChg chg="modSp mod">
        <pc:chgData name="Brown, Peter" userId="1fdb1ee8-8e96-4b5f-be45-20a3ddd4ef34" providerId="ADAL" clId="{2E978230-D457-4CE9-9047-FEA6E23BDB15}" dt="2025-10-21T19:44:50.550" v="1085" actId="554"/>
        <pc:sldMkLst>
          <pc:docMk/>
          <pc:sldMk cId="164222968" sldId="2147483527"/>
        </pc:sldMkLst>
        <pc:spChg chg="mod">
          <ac:chgData name="Brown, Peter" userId="1fdb1ee8-8e96-4b5f-be45-20a3ddd4ef34" providerId="ADAL" clId="{2E978230-D457-4CE9-9047-FEA6E23BDB15}" dt="2025-10-21T19:44:50.550" v="1085" actId="554"/>
          <ac:spMkLst>
            <pc:docMk/>
            <pc:sldMk cId="164222968" sldId="2147483527"/>
            <ac:spMk id="10" creationId="{A8BAD6FA-C267-5E4E-BB9D-0C569567A44B}"/>
          </ac:spMkLst>
        </pc:spChg>
        <pc:spChg chg="mod">
          <ac:chgData name="Brown, Peter" userId="1fdb1ee8-8e96-4b5f-be45-20a3ddd4ef34" providerId="ADAL" clId="{2E978230-D457-4CE9-9047-FEA6E23BDB15}" dt="2025-10-21T19:44:50.550" v="1085" actId="554"/>
          <ac:spMkLst>
            <pc:docMk/>
            <pc:sldMk cId="164222968" sldId="2147483527"/>
            <ac:spMk id="11" creationId="{C1520D6A-9CCD-AFA7-2B1C-8EAEF363C58B}"/>
          </ac:spMkLst>
        </pc:spChg>
      </pc:sldChg>
      <pc:sldChg chg="modSp add mod ord">
        <pc:chgData name="Brown, Peter" userId="1fdb1ee8-8e96-4b5f-be45-20a3ddd4ef34" providerId="ADAL" clId="{2E978230-D457-4CE9-9047-FEA6E23BDB15}" dt="2025-10-23T12:55:45.276" v="4615"/>
        <pc:sldMkLst>
          <pc:docMk/>
          <pc:sldMk cId="2584062419" sldId="2147483529"/>
        </pc:sldMkLst>
      </pc:sldChg>
      <pc:sldChg chg="addSp delSp modSp mod">
        <pc:chgData name="Brown, Peter" userId="1fdb1ee8-8e96-4b5f-be45-20a3ddd4ef34" providerId="ADAL" clId="{2E978230-D457-4CE9-9047-FEA6E23BDB15}" dt="2025-10-23T13:12:03.405" v="4781" actId="20577"/>
        <pc:sldMkLst>
          <pc:docMk/>
          <pc:sldMk cId="17551018" sldId="2147483530"/>
        </pc:sldMkLst>
        <pc:graphicFrameChg chg="del">
          <ac:chgData name="Brown, Peter" userId="1fdb1ee8-8e96-4b5f-be45-20a3ddd4ef34" providerId="ADAL" clId="{2E978230-D457-4CE9-9047-FEA6E23BDB15}" dt="2025-10-23T13:11:27.448" v="4755" actId="478"/>
          <ac:graphicFrameMkLst>
            <pc:docMk/>
            <pc:sldMk cId="17551018" sldId="2147483530"/>
            <ac:graphicFrameMk id="2" creationId="{7FD4C663-3078-F2EB-7FB2-FFE3A017CCEE}"/>
          </ac:graphicFrameMkLst>
        </pc:graphicFrameChg>
        <pc:graphicFrameChg chg="add mod modGraphic">
          <ac:chgData name="Brown, Peter" userId="1fdb1ee8-8e96-4b5f-be45-20a3ddd4ef34" providerId="ADAL" clId="{2E978230-D457-4CE9-9047-FEA6E23BDB15}" dt="2025-10-23T13:12:03.405" v="4781" actId="20577"/>
          <ac:graphicFrameMkLst>
            <pc:docMk/>
            <pc:sldMk cId="17551018" sldId="2147483530"/>
            <ac:graphicFrameMk id="5" creationId="{18306976-431F-764B-70B2-F93DD3ADCB12}"/>
          </ac:graphicFrameMkLst>
        </pc:graphicFrameChg>
      </pc:sldChg>
      <pc:sldChg chg="addSp delSp modSp add mod ord">
        <pc:chgData name="Brown, Peter" userId="1fdb1ee8-8e96-4b5f-be45-20a3ddd4ef34" providerId="ADAL" clId="{2E978230-D457-4CE9-9047-FEA6E23BDB15}" dt="2025-10-23T12:55:36.064" v="4611"/>
        <pc:sldMkLst>
          <pc:docMk/>
          <pc:sldMk cId="1653835225" sldId="2147483533"/>
        </pc:sldMkLst>
      </pc:sldChg>
      <pc:sldChg chg="modSp add del mod">
        <pc:chgData name="Brown, Peter" userId="1fdb1ee8-8e96-4b5f-be45-20a3ddd4ef34" providerId="ADAL" clId="{2E978230-D457-4CE9-9047-FEA6E23BDB15}" dt="2025-10-24T17:21:08.989" v="4852" actId="47"/>
        <pc:sldMkLst>
          <pc:docMk/>
          <pc:sldMk cId="247458807" sldId="2147483538"/>
        </pc:sldMkLst>
        <pc:spChg chg="mod">
          <ac:chgData name="Brown, Peter" userId="1fdb1ee8-8e96-4b5f-be45-20a3ddd4ef34" providerId="ADAL" clId="{2E978230-D457-4CE9-9047-FEA6E23BDB15}" dt="2025-10-24T16:56:48.772" v="4834" actId="20577"/>
          <ac:spMkLst>
            <pc:docMk/>
            <pc:sldMk cId="247458807" sldId="2147483538"/>
            <ac:spMk id="3" creationId="{9F9BB1C7-32D0-C254-FE5A-6057EA6C8F1C}"/>
          </ac:spMkLst>
        </pc:spChg>
        <pc:graphicFrameChg chg="modGraphic">
          <ac:chgData name="Brown, Peter" userId="1fdb1ee8-8e96-4b5f-be45-20a3ddd4ef34" providerId="ADAL" clId="{2E978230-D457-4CE9-9047-FEA6E23BDB15}" dt="2025-10-24T16:56:56.228" v="4851" actId="20577"/>
          <ac:graphicFrameMkLst>
            <pc:docMk/>
            <pc:sldMk cId="247458807" sldId="2147483538"/>
            <ac:graphicFrameMk id="6" creationId="{2BEDE874-FBBA-7867-8803-C3E511BD4170}"/>
          </ac:graphicFrameMkLst>
        </pc:graphicFrameChg>
      </pc:sldChg>
      <pc:sldChg chg="modSp add mod ord">
        <pc:chgData name="Brown, Peter" userId="1fdb1ee8-8e96-4b5f-be45-20a3ddd4ef34" providerId="ADAL" clId="{2E978230-D457-4CE9-9047-FEA6E23BDB15}" dt="2025-10-24T18:44:20.030" v="7575" actId="20577"/>
        <pc:sldMkLst>
          <pc:docMk/>
          <pc:sldMk cId="2763408182" sldId="2147483538"/>
        </pc:sldMkLst>
        <pc:spChg chg="mod">
          <ac:chgData name="Brown, Peter" userId="1fdb1ee8-8e96-4b5f-be45-20a3ddd4ef34" providerId="ADAL" clId="{2E978230-D457-4CE9-9047-FEA6E23BDB15}" dt="2025-10-24T17:43:28.638" v="6037" actId="20577"/>
          <ac:spMkLst>
            <pc:docMk/>
            <pc:sldMk cId="2763408182" sldId="2147483538"/>
            <ac:spMk id="2" creationId="{30834EB4-1863-3954-980E-D952452C9BF0}"/>
          </ac:spMkLst>
        </pc:spChg>
        <pc:spChg chg="mod">
          <ac:chgData name="Brown, Peter" userId="1fdb1ee8-8e96-4b5f-be45-20a3ddd4ef34" providerId="ADAL" clId="{2E978230-D457-4CE9-9047-FEA6E23BDB15}" dt="2025-10-24T18:15:10.042" v="6660" actId="20577"/>
          <ac:spMkLst>
            <pc:docMk/>
            <pc:sldMk cId="2763408182" sldId="2147483538"/>
            <ac:spMk id="3" creationId="{F4791170-67C3-5748-4FCF-C2B1FF63F2CC}"/>
          </ac:spMkLst>
        </pc:spChg>
        <pc:graphicFrameChg chg="mod modGraphic">
          <ac:chgData name="Brown, Peter" userId="1fdb1ee8-8e96-4b5f-be45-20a3ddd4ef34" providerId="ADAL" clId="{2E978230-D457-4CE9-9047-FEA6E23BDB15}" dt="2025-10-24T18:44:20.030" v="7575" actId="20577"/>
          <ac:graphicFrameMkLst>
            <pc:docMk/>
            <pc:sldMk cId="2763408182" sldId="2147483538"/>
            <ac:graphicFrameMk id="6" creationId="{8158C319-523C-696B-DB4E-95FA0BFF3D1C}"/>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24/2025</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24/2025</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84237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ED95B-1A6C-21CB-6DF3-5F5D548FB5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7C8019-DAF7-B9FA-5188-5DA7804705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817AFA-6038-BC4F-DED1-71F7FBAC2AFB}"/>
              </a:ext>
            </a:extLst>
          </p:cNvPr>
          <p:cNvSpPr>
            <a:spLocks noGrp="1"/>
          </p:cNvSpPr>
          <p:nvPr>
            <p:ph type="body" idx="1"/>
          </p:nvPr>
        </p:nvSpPr>
        <p:spPr/>
        <p:txBody>
          <a:bodyPr/>
          <a:lstStyle/>
          <a:p>
            <a:r>
              <a:rPr lang="en-US"/>
              <a:t>Tags:</a:t>
            </a:r>
            <a:r>
              <a:rPr lang="en-US" baseline="0"/>
              <a:t> text, business transformation, activities, deliverables, software &amp; tooling, key considerations, overview</a:t>
            </a:r>
            <a:endParaRPr lang="en-US"/>
          </a:p>
        </p:txBody>
      </p:sp>
      <p:sp>
        <p:nvSpPr>
          <p:cNvPr id="4" name="Slide Number Placeholder 3">
            <a:extLst>
              <a:ext uri="{FF2B5EF4-FFF2-40B4-BE49-F238E27FC236}">
                <a16:creationId xmlns:a16="http://schemas.microsoft.com/office/drawing/2014/main" id="{779A2AB4-51BB-B9B3-52B1-A3F7F3E5B50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905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54ADD8-6D3F-113F-D295-163F270054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10FEF-F3E2-95F8-922D-26507F0624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4BBA9A-8A3E-2318-1CA2-78FE208A463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EF82E8D-23B4-0096-59E9-FCC0875068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E59899-299A-436F-A639-BB71EB8D6A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397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62FEE-5DAA-1D4C-D45F-AD67F76839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90DEC7-0491-5331-24A3-8ADC465826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478FEB-83DF-2675-3A43-95A3131A37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9817178-F623-770E-6E4C-50C56339FC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E59899-299A-436F-A639-BB71EB8D6A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864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FBFFC-851B-9448-2E2D-2DA9EDAD82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3A7DBE-89B8-045B-FC50-86295A4072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9B80E6-98E5-B22A-4E03-175D2471E0A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10CCFE7-49D4-B27B-87A8-E80F0ACEEA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E59899-299A-436F-A639-BB71EB8D6A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6162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BC43F-9B10-9ECA-D224-1DC90DDB7B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ED3F96-3CDF-BDF3-CE20-8D073255D5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1978FA-9D50-C64B-65A5-F2FEA7F9EB83}"/>
              </a:ext>
            </a:extLst>
          </p:cNvPr>
          <p:cNvSpPr>
            <a:spLocks noGrp="1"/>
          </p:cNvSpPr>
          <p:nvPr>
            <p:ph type="body" idx="1"/>
          </p:nvPr>
        </p:nvSpPr>
        <p:spPr/>
        <p:txBody>
          <a:bodyPr/>
          <a:lstStyle/>
          <a:p>
            <a:r>
              <a:rPr lang="en-US"/>
              <a:t>Tags:</a:t>
            </a:r>
            <a:r>
              <a:rPr lang="en-US" baseline="0"/>
              <a:t> text, business transformation, activities, deliverables, software &amp; tooling, key considerations, overview</a:t>
            </a:r>
            <a:endParaRPr lang="en-US"/>
          </a:p>
        </p:txBody>
      </p:sp>
      <p:sp>
        <p:nvSpPr>
          <p:cNvPr id="4" name="Slide Number Placeholder 3">
            <a:extLst>
              <a:ext uri="{FF2B5EF4-FFF2-40B4-BE49-F238E27FC236}">
                <a16:creationId xmlns:a16="http://schemas.microsoft.com/office/drawing/2014/main" id="{EA790533-1A45-1DE1-8320-3C55CC57A02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8635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56BF6-D418-5AB9-C464-D9161E39C3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947B38-47C8-9510-0854-8C8A2F7D0AFA}"/>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CAAF8E62-35E2-7560-5D28-3B986A1101E6}"/>
              </a:ext>
            </a:extLst>
          </p:cNvPr>
          <p:cNvSpPr>
            <a:spLocks noGrp="1"/>
          </p:cNvSpPr>
          <p:nvPr>
            <p:ph type="body" idx="1"/>
          </p:nvPr>
        </p:nvSpPr>
        <p:spPr/>
        <p:txBody>
          <a:bodyPr>
            <a:normAutofit/>
          </a:bodyPr>
          <a:lstStyle/>
          <a:p>
            <a:endParaRPr lang="en-US"/>
          </a:p>
        </p:txBody>
      </p:sp>
      <p:sp>
        <p:nvSpPr>
          <p:cNvPr id="4" name="Slide Number Placeholder 3">
            <a:extLst>
              <a:ext uri="{FF2B5EF4-FFF2-40B4-BE49-F238E27FC236}">
                <a16:creationId xmlns:a16="http://schemas.microsoft.com/office/drawing/2014/main" id="{C9A485C9-29D8-4ADA-BB8C-3716601D8C4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438850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a:t>Insert sponsorship mark here</a:t>
            </a:r>
            <a:endParaRPr lang="en-GB"/>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275325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p:nvPr>
        </p:nvSpPr>
        <p:spPr>
          <a:xfrm>
            <a:off x="6246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Content Placeholder 3">
            <a:extLst>
              <a:ext uri="{FF2B5EF4-FFF2-40B4-BE49-F238E27FC236}">
                <a16:creationId xmlns:a16="http://schemas.microsoft.com/office/drawing/2014/main" id="{746306D7-050B-5308-5E5B-4221EF4A7F66}"/>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6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1"/>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2364895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73749"/>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438024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briefs | Navigating the U.S. Treasury Clearing Mandate </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4 Deloitte Development LLC. All rights reserved.</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briefs | Navigating the U.S. Treasury Clearing Mandate </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2"/>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635087"/>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a:t>
            </a:r>
            <a:r>
              <a:rPr lang="pl-PL" sz="800" noProof="0">
                <a:solidFill>
                  <a:schemeClr val="tx1"/>
                </a:solidFill>
                <a:latin typeface="Calibri" panose="020F0502020204030204" pitchFamily="34" charset="0"/>
                <a:cs typeface="Calibri" panose="020F0502020204030204" pitchFamily="34" charset="0"/>
              </a:rPr>
              <a:t> | </a:t>
            </a:r>
            <a:r>
              <a:rPr lang="en-US" sz="800" noProof="0">
                <a:solidFill>
                  <a:schemeClr val="tx1"/>
                </a:solidFill>
                <a:latin typeface="Calibri" panose="020F0502020204030204" pitchFamily="34" charset="0"/>
                <a:cs typeface="Calibri" panose="020F0502020204030204" pitchFamily="34" charset="0"/>
              </a:rPr>
              <a:t>ICI | Treasury Clearing Mandate </a:t>
            </a:r>
          </a:p>
        </p:txBody>
      </p:sp>
      <p:sp>
        <p:nvSpPr>
          <p:cNvPr id="18" name="Copyright"/>
          <p:cNvSpPr txBox="1"/>
          <p:nvPr/>
        </p:nvSpPr>
        <p:spPr>
          <a:xfrm>
            <a:off x="450000" y="6630477"/>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5 Deloitte Development LLC. All rights reserved.</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626209"/>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 id="2147484030" r:id="rId29"/>
    <p:sldLayoutId id="2147484033" r:id="rId30"/>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slideLayout" Target="../slideLayouts/slideLayout11.xml"/><Relationship Id="rId7" Type="http://schemas.openxmlformats.org/officeDocument/2006/relationships/image" Target="../media/image1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1.emf"/><Relationship Id="rId11" Type="http://schemas.openxmlformats.org/officeDocument/2006/relationships/hyperlink" Target="https://www.sec.gov/rules-regulations/self-regulatory-organization-rulemaking/ficc?field_display_title_value=&amp;release_number=&amp;file_number=ficc-2025-019&amp;year=All&amp;month=All" TargetMode="External"/><Relationship Id="rId5" Type="http://schemas.openxmlformats.org/officeDocument/2006/relationships/oleObject" Target="../embeddings/oleObject4.bin"/><Relationship Id="rId10" Type="http://schemas.openxmlformats.org/officeDocument/2006/relationships/image" Target="../media/image15.svg"/><Relationship Id="rId4" Type="http://schemas.openxmlformats.org/officeDocument/2006/relationships/notesSlide" Target="../notesSlides/notesSlide7.xml"/><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lack and silver compass&#10;&#10;Description automatically generated">
            <a:extLst>
              <a:ext uri="{FF2B5EF4-FFF2-40B4-BE49-F238E27FC236}">
                <a16:creationId xmlns:a16="http://schemas.microsoft.com/office/drawing/2014/main" id="{45E8EED0-5F92-DBDF-871B-7067CD6ED842}"/>
              </a:ext>
            </a:extLst>
          </p:cNvPr>
          <p:cNvPicPr>
            <a:picLocks noChangeAspect="1"/>
          </p:cNvPicPr>
          <p:nvPr/>
        </p:nvPicPr>
        <p:blipFill rotWithShape="1">
          <a:blip r:embed="rId3"/>
          <a:srcRect l="12500" t="15251" r="979" b="7223"/>
          <a:stretch/>
        </p:blipFill>
        <p:spPr>
          <a:xfrm>
            <a:off x="3129213" y="770637"/>
            <a:ext cx="5933574" cy="5316726"/>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4686299" cy="895983"/>
          </a:xfrm>
        </p:spPr>
        <p:txBody>
          <a:bodyPr/>
          <a:lstStyle/>
          <a:p>
            <a:r>
              <a:rPr lang="en-US">
                <a:solidFill>
                  <a:srgbClr val="86BC25"/>
                </a:solidFill>
              </a:rPr>
              <a:t>Navigating the U.S. Treasury Clearing Mandate:</a:t>
            </a:r>
            <a:br>
              <a:rPr lang="en-US">
                <a:solidFill>
                  <a:srgbClr val="86BC25"/>
                </a:solidFill>
              </a:rPr>
            </a:br>
            <a:r>
              <a:rPr lang="en-US" sz="2400">
                <a:solidFill>
                  <a:srgbClr val="86BC25"/>
                </a:solidFill>
              </a:rPr>
              <a:t>FICC Access Models &amp; Margin Analysis</a:t>
            </a:r>
            <a:endParaRPr lang="en-US">
              <a:solidFill>
                <a:srgbClr val="86BC25"/>
              </a:solidFill>
            </a:endParaRPr>
          </a:p>
        </p:txBody>
      </p:sp>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a:t>November 2025 </a:t>
            </a:r>
          </a:p>
        </p:txBody>
      </p:sp>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994375-9EB9-9FE8-E088-00DCFCD7C0E3}"/>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9D3D166-1303-EF6A-49EF-DB1FB55CF5D1}"/>
              </a:ext>
            </a:extLst>
          </p:cNvPr>
          <p:cNvSpPr txBox="1"/>
          <p:nvPr/>
        </p:nvSpPr>
        <p:spPr>
          <a:xfrm>
            <a:off x="5256243" y="2205859"/>
            <a:ext cx="1689969" cy="2651760"/>
          </a:xfrm>
          <a:prstGeom prst="rect">
            <a:avLst/>
          </a:prstGeom>
          <a:solidFill>
            <a:schemeClr val="bg1"/>
          </a:solidFill>
          <a:ln w="15875">
            <a:solidFill>
              <a:schemeClr val="tx1">
                <a:lumMod val="65000"/>
                <a:lumOff val="35000"/>
              </a:schemeClr>
            </a:solidFill>
            <a:prstDash val="dash"/>
          </a:ln>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
        <p:nvSpPr>
          <p:cNvPr id="3" name="Title 2">
            <a:extLst>
              <a:ext uri="{FF2B5EF4-FFF2-40B4-BE49-F238E27FC236}">
                <a16:creationId xmlns:a16="http://schemas.microsoft.com/office/drawing/2014/main" id="{C3F7357E-6C73-65B7-82B2-D1AAAFFA5671}"/>
              </a:ext>
            </a:extLst>
          </p:cNvPr>
          <p:cNvSpPr>
            <a:spLocks noGrp="1"/>
          </p:cNvSpPr>
          <p:nvPr>
            <p:ph type="title"/>
          </p:nvPr>
        </p:nvSpPr>
        <p:spPr/>
        <p:txBody>
          <a:bodyPr/>
          <a:lstStyle/>
          <a:p>
            <a:r>
              <a:rPr lang="en-US" sz="2400" b="1">
                <a:latin typeface="Open Sans  "/>
              </a:rPr>
              <a:t>Next Session</a:t>
            </a:r>
            <a:endParaRPr lang="en-US" sz="2400"/>
          </a:p>
        </p:txBody>
      </p:sp>
      <p:sp>
        <p:nvSpPr>
          <p:cNvPr id="100" name="Rectangle 5">
            <a:extLst>
              <a:ext uri="{FF2B5EF4-FFF2-40B4-BE49-F238E27FC236}">
                <a16:creationId xmlns:a16="http://schemas.microsoft.com/office/drawing/2014/main" id="{8FB3AF2F-017D-B81B-1DCE-65A96F29F5F0}"/>
              </a:ext>
            </a:extLst>
          </p:cNvPr>
          <p:cNvSpPr/>
          <p:nvPr/>
        </p:nvSpPr>
        <p:spPr bwMode="gray">
          <a:xfrm>
            <a:off x="8695575" y="4066041"/>
            <a:ext cx="1620000" cy="405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01" name="Rectangle 3">
            <a:extLst>
              <a:ext uri="{FF2B5EF4-FFF2-40B4-BE49-F238E27FC236}">
                <a16:creationId xmlns:a16="http://schemas.microsoft.com/office/drawing/2014/main" id="{84B5F30C-B4BA-012E-17D6-166C57DE009D}"/>
              </a:ext>
            </a:extLst>
          </p:cNvPr>
          <p:cNvSpPr/>
          <p:nvPr/>
        </p:nvSpPr>
        <p:spPr bwMode="gray">
          <a:xfrm>
            <a:off x="3581213" y="4066041"/>
            <a:ext cx="1620000" cy="40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05" name="Rectangle 4">
            <a:extLst>
              <a:ext uri="{FF2B5EF4-FFF2-40B4-BE49-F238E27FC236}">
                <a16:creationId xmlns:a16="http://schemas.microsoft.com/office/drawing/2014/main" id="{72D7FF2C-8019-B5BB-D3E1-345DD5D83EB3}"/>
              </a:ext>
            </a:extLst>
          </p:cNvPr>
          <p:cNvSpPr/>
          <p:nvPr/>
        </p:nvSpPr>
        <p:spPr bwMode="gray">
          <a:xfrm>
            <a:off x="1876425" y="4060824"/>
            <a:ext cx="1620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07" name="Rectangle 3">
            <a:extLst>
              <a:ext uri="{FF2B5EF4-FFF2-40B4-BE49-F238E27FC236}">
                <a16:creationId xmlns:a16="http://schemas.microsoft.com/office/drawing/2014/main" id="{9071BA28-521C-DF45-74F6-834F2F31E5A3}"/>
              </a:ext>
            </a:extLst>
          </p:cNvPr>
          <p:cNvSpPr/>
          <p:nvPr/>
        </p:nvSpPr>
        <p:spPr bwMode="gray">
          <a:xfrm>
            <a:off x="5286000" y="4066041"/>
            <a:ext cx="1620000" cy="40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08" name="Rectangle 5">
            <a:extLst>
              <a:ext uri="{FF2B5EF4-FFF2-40B4-BE49-F238E27FC236}">
                <a16:creationId xmlns:a16="http://schemas.microsoft.com/office/drawing/2014/main" id="{C5CC2305-E430-42A4-1DAA-40DB94FE470A}"/>
              </a:ext>
            </a:extLst>
          </p:cNvPr>
          <p:cNvSpPr/>
          <p:nvPr/>
        </p:nvSpPr>
        <p:spPr bwMode="gray">
          <a:xfrm>
            <a:off x="6990788" y="4066041"/>
            <a:ext cx="1620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10" name="Text Placeholder 3">
            <a:extLst>
              <a:ext uri="{FF2B5EF4-FFF2-40B4-BE49-F238E27FC236}">
                <a16:creationId xmlns:a16="http://schemas.microsoft.com/office/drawing/2014/main" id="{C2C7F954-637A-639F-14F7-FD0CA9FFAC5C}"/>
              </a:ext>
            </a:extLst>
          </p:cNvPr>
          <p:cNvSpPr txBox="1">
            <a:spLocks/>
          </p:cNvSpPr>
          <p:nvPr/>
        </p:nvSpPr>
        <p:spPr bwMode="gray">
          <a:xfrm>
            <a:off x="8566955" y="3376511"/>
            <a:ext cx="1906289" cy="1560088"/>
          </a:xfrm>
          <a:prstGeom prst="rect">
            <a:avLst/>
          </a:prstGeom>
          <a:ln>
            <a:noFill/>
          </a:ln>
        </p:spPr>
        <p:txBody>
          <a:bodyPr vert="horz" wrap="square" lIns="0" tIns="78300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685800">
              <a:spcBef>
                <a:spcPts val="0"/>
              </a:spcBef>
              <a:defRPr/>
            </a:pPr>
            <a:r>
              <a:rPr lang="en-US" sz="1000">
                <a:solidFill>
                  <a:schemeClr val="tx1"/>
                </a:solidFill>
              </a:rPr>
              <a:t>Industry Open Questions</a:t>
            </a:r>
          </a:p>
          <a:p>
            <a:pPr lvl="1" algn="ctr" defTabSz="685800">
              <a:spcBef>
                <a:spcPts val="0"/>
              </a:spcBef>
              <a:defRPr/>
            </a:pPr>
            <a:r>
              <a:rPr lang="en-US" sz="1000">
                <a:solidFill>
                  <a:schemeClr val="tx1"/>
                </a:solidFill>
              </a:rPr>
              <a:t>Technology Implications &amp; Considerations</a:t>
            </a:r>
          </a:p>
          <a:p>
            <a:pPr lvl="1" algn="ctr" defTabSz="685800">
              <a:spcBef>
                <a:spcPts val="0"/>
              </a:spcBef>
              <a:defRPr/>
            </a:pPr>
            <a:r>
              <a:rPr lang="en-GB" sz="1000">
                <a:solidFill>
                  <a:schemeClr val="tx1"/>
                </a:solidFill>
              </a:rPr>
              <a:t>Margin Deep Dive</a:t>
            </a:r>
          </a:p>
          <a:p>
            <a:pPr lvl="1" algn="ctr" defTabSz="685800">
              <a:spcBef>
                <a:spcPts val="0"/>
              </a:spcBef>
              <a:defRPr/>
            </a:pPr>
            <a:r>
              <a:rPr lang="en-GB" sz="1000">
                <a:solidFill>
                  <a:schemeClr val="tx1"/>
                </a:solidFill>
              </a:rPr>
              <a:t>ICE and CME Capabilities*</a:t>
            </a:r>
            <a:endParaRPr lang="en-US" sz="600" b="0">
              <a:solidFill>
                <a:schemeClr val="tx1"/>
              </a:solidFill>
            </a:endParaRPr>
          </a:p>
        </p:txBody>
      </p:sp>
      <p:sp>
        <p:nvSpPr>
          <p:cNvPr id="111" name="Text Placeholder 3">
            <a:extLst>
              <a:ext uri="{FF2B5EF4-FFF2-40B4-BE49-F238E27FC236}">
                <a16:creationId xmlns:a16="http://schemas.microsoft.com/office/drawing/2014/main" id="{B030C467-3051-AA72-E8E4-9CFABB32AA66}"/>
              </a:ext>
            </a:extLst>
          </p:cNvPr>
          <p:cNvSpPr txBox="1">
            <a:spLocks/>
          </p:cNvSpPr>
          <p:nvPr/>
        </p:nvSpPr>
        <p:spPr bwMode="gray">
          <a:xfrm>
            <a:off x="3576380" y="3376511"/>
            <a:ext cx="1620000" cy="1113812"/>
          </a:xfrm>
          <a:prstGeom prst="rect">
            <a:avLst/>
          </a:prstGeom>
          <a:ln>
            <a:noFill/>
          </a:ln>
        </p:spPr>
        <p:txBody>
          <a:bodyPr vert="horz" lIns="0" tIns="783000" rIns="0" bIns="0" rtlCol="0" anchor="t">
            <a:spAutoFit/>
          </a:bodyPr>
          <a:lstStyle>
            <a:defPPr>
              <a:defRPr lang="en-US"/>
            </a:defPPr>
            <a:lvl2pPr marL="0" lvl="1">
              <a:spcBef>
                <a:spcPts val="1200"/>
              </a:spcBef>
              <a:buSzPct val="100000"/>
              <a:defRPr sz="1200" b="1">
                <a:solidFill>
                  <a:schemeClr val="accent6">
                    <a:lumMod val="40000"/>
                    <a:lumOff val="60000"/>
                  </a:schemeClr>
                </a:solidFill>
              </a:defRPr>
            </a:lvl2pPr>
          </a:lstStyle>
          <a:p>
            <a:pPr lvl="1" algn="ctr" defTabSz="685800">
              <a:spcBef>
                <a:spcPts val="900"/>
              </a:spcBef>
              <a:defRPr/>
            </a:pPr>
            <a:r>
              <a:rPr lang="en-US" sz="1000">
                <a:solidFill>
                  <a:schemeClr val="accent4"/>
                </a:solidFill>
              </a:rPr>
              <a:t>FICC Access Models &amp; Margin Analysis</a:t>
            </a:r>
          </a:p>
        </p:txBody>
      </p:sp>
      <p:sp>
        <p:nvSpPr>
          <p:cNvPr id="113" name="Text Placeholder 3">
            <a:extLst>
              <a:ext uri="{FF2B5EF4-FFF2-40B4-BE49-F238E27FC236}">
                <a16:creationId xmlns:a16="http://schemas.microsoft.com/office/drawing/2014/main" id="{F2A04A69-32E1-F77C-0952-2C8BAA29FA71}"/>
              </a:ext>
            </a:extLst>
          </p:cNvPr>
          <p:cNvSpPr txBox="1">
            <a:spLocks/>
          </p:cNvSpPr>
          <p:nvPr/>
        </p:nvSpPr>
        <p:spPr bwMode="gray">
          <a:xfrm>
            <a:off x="1866768" y="3376511"/>
            <a:ext cx="1595067" cy="1252311"/>
          </a:xfrm>
          <a:prstGeom prst="rect">
            <a:avLst/>
          </a:prstGeom>
          <a:ln>
            <a:noFill/>
          </a:ln>
        </p:spPr>
        <p:txBody>
          <a:bodyPr vert="horz" wrap="square" lIns="0" tIns="783000" rIns="0" bIns="0" rtlCol="0" anchor="t">
            <a:spAutoFit/>
          </a:bodyPr>
          <a:lstStyle/>
          <a:p>
            <a:pPr marL="0" lvl="1" algn="ctr" defTabSz="685800">
              <a:spcBef>
                <a:spcPts val="900"/>
              </a:spcBef>
              <a:buSzPct val="100000"/>
              <a:defRPr/>
            </a:pPr>
            <a:r>
              <a:rPr lang="en-US" sz="1000" b="1">
                <a:solidFill>
                  <a:schemeClr val="bg1">
                    <a:lumMod val="85000"/>
                  </a:schemeClr>
                </a:solidFill>
              </a:rPr>
              <a:t>SEC Mandate, FICC Rulebook Overview &amp; Industry Implications</a:t>
            </a:r>
          </a:p>
        </p:txBody>
      </p:sp>
      <p:sp>
        <p:nvSpPr>
          <p:cNvPr id="114" name="Text Placeholder 3">
            <a:extLst>
              <a:ext uri="{FF2B5EF4-FFF2-40B4-BE49-F238E27FC236}">
                <a16:creationId xmlns:a16="http://schemas.microsoft.com/office/drawing/2014/main" id="{9453C1CE-CE09-3A57-0DA3-2DDBADBA3798}"/>
              </a:ext>
            </a:extLst>
          </p:cNvPr>
          <p:cNvSpPr txBox="1">
            <a:spLocks/>
          </p:cNvSpPr>
          <p:nvPr/>
        </p:nvSpPr>
        <p:spPr bwMode="gray">
          <a:xfrm>
            <a:off x="5286000" y="3376511"/>
            <a:ext cx="1620000" cy="1367728"/>
          </a:xfrm>
          <a:prstGeom prst="rect">
            <a:avLst/>
          </a:prstGeom>
          <a:ln>
            <a:noFill/>
          </a:ln>
        </p:spPr>
        <p:txBody>
          <a:bodyPr vert="horz" lIns="0" tIns="78300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685800">
              <a:spcBef>
                <a:spcPts val="900"/>
              </a:spcBef>
              <a:defRPr/>
            </a:pPr>
            <a:r>
              <a:rPr lang="en-US" sz="1000">
                <a:solidFill>
                  <a:srgbClr val="007CB0"/>
                </a:solidFill>
              </a:rPr>
              <a:t>ICE and CME capabilities</a:t>
            </a:r>
          </a:p>
          <a:p>
            <a:pPr lvl="1" algn="ctr" defTabSz="685800">
              <a:spcBef>
                <a:spcPts val="900"/>
              </a:spcBef>
              <a:defRPr/>
            </a:pPr>
            <a:r>
              <a:rPr lang="en-US" sz="1000" b="0" i="1">
                <a:solidFill>
                  <a:schemeClr val="tx1"/>
                </a:solidFill>
              </a:rPr>
              <a:t>November 18, 2025</a:t>
            </a:r>
            <a:br>
              <a:rPr lang="en-US" sz="1000" b="0" i="1">
                <a:solidFill>
                  <a:schemeClr val="tx1"/>
                </a:solidFill>
              </a:rPr>
            </a:br>
            <a:r>
              <a:rPr lang="en-US" sz="1000" b="0" i="1">
                <a:solidFill>
                  <a:schemeClr val="tx1"/>
                </a:solidFill>
              </a:rPr>
              <a:t>at 11:00am ET</a:t>
            </a:r>
          </a:p>
        </p:txBody>
      </p:sp>
      <p:sp>
        <p:nvSpPr>
          <p:cNvPr id="115" name="Text Placeholder 3">
            <a:extLst>
              <a:ext uri="{FF2B5EF4-FFF2-40B4-BE49-F238E27FC236}">
                <a16:creationId xmlns:a16="http://schemas.microsoft.com/office/drawing/2014/main" id="{D7E7879D-47B0-84D5-A84A-5BDBAEB5D66D}"/>
              </a:ext>
            </a:extLst>
          </p:cNvPr>
          <p:cNvSpPr txBox="1">
            <a:spLocks/>
          </p:cNvSpPr>
          <p:nvPr/>
        </p:nvSpPr>
        <p:spPr bwMode="gray">
          <a:xfrm>
            <a:off x="6990788" y="3376511"/>
            <a:ext cx="1620000" cy="975312"/>
          </a:xfrm>
          <a:prstGeom prst="rect">
            <a:avLst/>
          </a:prstGeom>
          <a:ln>
            <a:noFill/>
          </a:ln>
        </p:spPr>
        <p:txBody>
          <a:bodyPr vert="horz" lIns="0" tIns="78300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685800">
              <a:spcBef>
                <a:spcPts val="900"/>
              </a:spcBef>
              <a:defRPr/>
            </a:pPr>
            <a:r>
              <a:rPr lang="en-US" sz="1000"/>
              <a:t>Implementation Planning</a:t>
            </a:r>
            <a:endParaRPr lang="en-US" sz="1000">
              <a:solidFill>
                <a:prstClr val="black"/>
              </a:solidFill>
            </a:endParaRPr>
          </a:p>
        </p:txBody>
      </p:sp>
      <p:sp>
        <p:nvSpPr>
          <p:cNvPr id="116" name="Rectangle 115">
            <a:extLst>
              <a:ext uri="{FF2B5EF4-FFF2-40B4-BE49-F238E27FC236}">
                <a16:creationId xmlns:a16="http://schemas.microsoft.com/office/drawing/2014/main" id="{AE4231CA-6BE0-756D-F423-4B231B0FC56F}"/>
              </a:ext>
            </a:extLst>
          </p:cNvPr>
          <p:cNvSpPr/>
          <p:nvPr/>
        </p:nvSpPr>
        <p:spPr bwMode="gray">
          <a:xfrm>
            <a:off x="8375979" y="3151346"/>
            <a:ext cx="582341" cy="58417"/>
          </a:xfrm>
          <a:prstGeom prst="rect">
            <a:avLst/>
          </a:prstGeom>
          <a:gradFill>
            <a:gsLst>
              <a:gs pos="16000">
                <a:schemeClr val="accent1"/>
              </a:gs>
              <a:gs pos="83000">
                <a:schemeClr val="accent6">
                  <a:lumMod val="40000"/>
                  <a:lumOff val="60000"/>
                </a:schemeClr>
              </a:gs>
            </a:gsLst>
            <a:lin ang="0" scaled="0"/>
          </a:gra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19" name="Rectangle 118">
            <a:extLst>
              <a:ext uri="{FF2B5EF4-FFF2-40B4-BE49-F238E27FC236}">
                <a16:creationId xmlns:a16="http://schemas.microsoft.com/office/drawing/2014/main" id="{EB007476-CE88-7EAC-09A2-D4EDFBB1535E}"/>
              </a:ext>
            </a:extLst>
          </p:cNvPr>
          <p:cNvSpPr/>
          <p:nvPr/>
        </p:nvSpPr>
        <p:spPr bwMode="gray">
          <a:xfrm>
            <a:off x="3180421" y="3151347"/>
            <a:ext cx="681616" cy="58417"/>
          </a:xfrm>
          <a:prstGeom prst="rect">
            <a:avLst/>
          </a:prstGeom>
          <a:gradFill>
            <a:gsLst>
              <a:gs pos="17000">
                <a:schemeClr val="bg1">
                  <a:lumMod val="85000"/>
                </a:schemeClr>
              </a:gs>
              <a:gs pos="83000">
                <a:srgbClr val="046A38"/>
              </a:gs>
            </a:gsLst>
            <a:lin ang="0" scaled="0"/>
          </a:gra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nvGrpSpPr>
          <p:cNvPr id="120" name="Group 119">
            <a:extLst>
              <a:ext uri="{FF2B5EF4-FFF2-40B4-BE49-F238E27FC236}">
                <a16:creationId xmlns:a16="http://schemas.microsoft.com/office/drawing/2014/main" id="{31EB9B10-3A29-C1FF-F400-CE73C7409C43}"/>
              </a:ext>
            </a:extLst>
          </p:cNvPr>
          <p:cNvGrpSpPr/>
          <p:nvPr/>
        </p:nvGrpSpPr>
        <p:grpSpPr>
          <a:xfrm>
            <a:off x="2055429" y="2301988"/>
            <a:ext cx="1198893" cy="1504324"/>
            <a:chOff x="2055768" y="1602865"/>
            <a:chExt cx="1598523" cy="2005765"/>
          </a:xfrm>
        </p:grpSpPr>
        <p:sp>
          <p:nvSpPr>
            <p:cNvPr id="122" name="Teardrop 121">
              <a:extLst>
                <a:ext uri="{FF2B5EF4-FFF2-40B4-BE49-F238E27FC236}">
                  <a16:creationId xmlns:a16="http://schemas.microsoft.com/office/drawing/2014/main" id="{3C1E851D-CAC2-9291-82E3-B3BE6CEAF15B}"/>
                </a:ext>
              </a:extLst>
            </p:cNvPr>
            <p:cNvSpPr/>
            <p:nvPr/>
          </p:nvSpPr>
          <p:spPr bwMode="gray">
            <a:xfrm rot="8100000">
              <a:off x="2103109" y="1602865"/>
              <a:ext cx="1503841" cy="1503844"/>
            </a:xfrm>
            <a:prstGeom prst="teardrop">
              <a:avLst/>
            </a:pr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23" name="Freeform 23">
              <a:extLst>
                <a:ext uri="{FF2B5EF4-FFF2-40B4-BE49-F238E27FC236}">
                  <a16:creationId xmlns:a16="http://schemas.microsoft.com/office/drawing/2014/main" id="{2A386172-F425-633D-CABC-CBEADF1C9658}"/>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25" name="Oval 124">
              <a:extLst>
                <a:ext uri="{FF2B5EF4-FFF2-40B4-BE49-F238E27FC236}">
                  <a16:creationId xmlns:a16="http://schemas.microsoft.com/office/drawing/2014/main" id="{56D6D05B-BE51-4CC5-9221-7EB06B7A5CDF}"/>
                </a:ext>
              </a:extLst>
            </p:cNvPr>
            <p:cNvSpPr/>
            <p:nvPr/>
          </p:nvSpPr>
          <p:spPr bwMode="gray">
            <a:xfrm>
              <a:off x="2303206"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grpSp>
        <p:nvGrpSpPr>
          <p:cNvPr id="126" name="Group 125">
            <a:extLst>
              <a:ext uri="{FF2B5EF4-FFF2-40B4-BE49-F238E27FC236}">
                <a16:creationId xmlns:a16="http://schemas.microsoft.com/office/drawing/2014/main" id="{21F15B0A-D815-422C-015C-252D3B179A22}"/>
              </a:ext>
            </a:extLst>
          </p:cNvPr>
          <p:cNvGrpSpPr/>
          <p:nvPr/>
        </p:nvGrpSpPr>
        <p:grpSpPr>
          <a:xfrm>
            <a:off x="3809058" y="2301988"/>
            <a:ext cx="1198892" cy="1504324"/>
            <a:chOff x="3622989" y="1602865"/>
            <a:chExt cx="1598523" cy="2005765"/>
          </a:xfrm>
        </p:grpSpPr>
        <p:sp>
          <p:nvSpPr>
            <p:cNvPr id="127" name="Teardrop 126">
              <a:extLst>
                <a:ext uri="{FF2B5EF4-FFF2-40B4-BE49-F238E27FC236}">
                  <a16:creationId xmlns:a16="http://schemas.microsoft.com/office/drawing/2014/main" id="{F21B3AA8-409B-2188-1B68-3F698866B215}"/>
                </a:ext>
              </a:extLst>
            </p:cNvPr>
            <p:cNvSpPr/>
            <p:nvPr/>
          </p:nvSpPr>
          <p:spPr bwMode="gray">
            <a:xfrm rot="8100000">
              <a:off x="3670329" y="1602865"/>
              <a:ext cx="1503841" cy="1503844"/>
            </a:xfrm>
            <a:prstGeom prst="teardrop">
              <a:avLst/>
            </a:prstGeom>
            <a:solidFill>
              <a:schemeClr val="accent4"/>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046A38"/>
                </a:solidFill>
                <a:latin typeface="Verdana"/>
              </a:endParaRPr>
            </a:p>
          </p:txBody>
        </p:sp>
        <p:sp>
          <p:nvSpPr>
            <p:cNvPr id="128" name="Freeform 27">
              <a:extLst>
                <a:ext uri="{FF2B5EF4-FFF2-40B4-BE49-F238E27FC236}">
                  <a16:creationId xmlns:a16="http://schemas.microsoft.com/office/drawing/2014/main" id="{ED6448A8-EC51-23A4-8E6C-155F76C685AC}"/>
                </a:ext>
              </a:extLst>
            </p:cNvPr>
            <p:cNvSpPr/>
            <p:nvPr/>
          </p:nvSpPr>
          <p:spPr bwMode="gray">
            <a:xfrm>
              <a:off x="362298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4"/>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046A38"/>
                </a:solidFill>
                <a:latin typeface="Verdana"/>
              </a:endParaRPr>
            </a:p>
          </p:txBody>
        </p:sp>
        <p:sp>
          <p:nvSpPr>
            <p:cNvPr id="129" name="Oval 128">
              <a:extLst>
                <a:ext uri="{FF2B5EF4-FFF2-40B4-BE49-F238E27FC236}">
                  <a16:creationId xmlns:a16="http://schemas.microsoft.com/office/drawing/2014/main" id="{3AB3837C-8130-2FAB-F5F6-19E53F02C5B5}"/>
                </a:ext>
              </a:extLst>
            </p:cNvPr>
            <p:cNvSpPr/>
            <p:nvPr/>
          </p:nvSpPr>
          <p:spPr bwMode="gray">
            <a:xfrm>
              <a:off x="3862715"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046A38"/>
                </a:solidFill>
                <a:latin typeface="Verdana"/>
              </a:endParaRPr>
            </a:p>
          </p:txBody>
        </p:sp>
      </p:grpSp>
      <p:grpSp>
        <p:nvGrpSpPr>
          <p:cNvPr id="130" name="Group 129">
            <a:extLst>
              <a:ext uri="{FF2B5EF4-FFF2-40B4-BE49-F238E27FC236}">
                <a16:creationId xmlns:a16="http://schemas.microsoft.com/office/drawing/2014/main" id="{0D7E5E44-2FD9-B13E-C289-0188874D43B9}"/>
              </a:ext>
            </a:extLst>
          </p:cNvPr>
          <p:cNvGrpSpPr/>
          <p:nvPr/>
        </p:nvGrpSpPr>
        <p:grpSpPr>
          <a:xfrm>
            <a:off x="5464777" y="2301988"/>
            <a:ext cx="1198892" cy="1504324"/>
            <a:chOff x="5190209" y="1602865"/>
            <a:chExt cx="1598523" cy="2005765"/>
          </a:xfrm>
        </p:grpSpPr>
        <p:sp>
          <p:nvSpPr>
            <p:cNvPr id="131" name="Teardrop 130">
              <a:extLst>
                <a:ext uri="{FF2B5EF4-FFF2-40B4-BE49-F238E27FC236}">
                  <a16:creationId xmlns:a16="http://schemas.microsoft.com/office/drawing/2014/main" id="{211D0A45-6888-6D3F-2A63-6E4AFE76A0E5}"/>
                </a:ext>
              </a:extLst>
            </p:cNvPr>
            <p:cNvSpPr/>
            <p:nvPr/>
          </p:nvSpPr>
          <p:spPr bwMode="gray">
            <a:xfrm rot="8100000">
              <a:off x="5237549" y="1602865"/>
              <a:ext cx="1503841" cy="1503844"/>
            </a:xfrm>
            <a:prstGeom prst="teardrop">
              <a:avLst/>
            </a:pr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32" name="Freeform 31">
              <a:extLst>
                <a:ext uri="{FF2B5EF4-FFF2-40B4-BE49-F238E27FC236}">
                  <a16:creationId xmlns:a16="http://schemas.microsoft.com/office/drawing/2014/main" id="{28C048E6-3E6A-DD11-6C64-2437B0DD8252}"/>
                </a:ext>
              </a:extLst>
            </p:cNvPr>
            <p:cNvSpPr/>
            <p:nvPr/>
          </p:nvSpPr>
          <p:spPr bwMode="gray">
            <a:xfrm>
              <a:off x="519020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34" name="Oval 133">
              <a:extLst>
                <a:ext uri="{FF2B5EF4-FFF2-40B4-BE49-F238E27FC236}">
                  <a16:creationId xmlns:a16="http://schemas.microsoft.com/office/drawing/2014/main" id="{27F5AEF0-295C-D39D-C3BD-3A180E9DA566}"/>
                </a:ext>
              </a:extLst>
            </p:cNvPr>
            <p:cNvSpPr/>
            <p:nvPr/>
          </p:nvSpPr>
          <p:spPr bwMode="gray">
            <a:xfrm>
              <a:off x="5429936"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grpSp>
        <p:nvGrpSpPr>
          <p:cNvPr id="135" name="Group 134">
            <a:extLst>
              <a:ext uri="{FF2B5EF4-FFF2-40B4-BE49-F238E27FC236}">
                <a16:creationId xmlns:a16="http://schemas.microsoft.com/office/drawing/2014/main" id="{997AC993-86B3-0B93-FBF8-72879D34EDC7}"/>
              </a:ext>
            </a:extLst>
          </p:cNvPr>
          <p:cNvGrpSpPr/>
          <p:nvPr/>
        </p:nvGrpSpPr>
        <p:grpSpPr>
          <a:xfrm>
            <a:off x="7230127" y="2301988"/>
            <a:ext cx="1198892" cy="1504324"/>
            <a:chOff x="6763077" y="1602865"/>
            <a:chExt cx="1598523" cy="2005765"/>
          </a:xfrm>
        </p:grpSpPr>
        <p:sp>
          <p:nvSpPr>
            <p:cNvPr id="136" name="Teardrop 135">
              <a:extLst>
                <a:ext uri="{FF2B5EF4-FFF2-40B4-BE49-F238E27FC236}">
                  <a16:creationId xmlns:a16="http://schemas.microsoft.com/office/drawing/2014/main" id="{60E4C78C-78EB-CE9A-2AC3-FB506102481A}"/>
                </a:ext>
              </a:extLst>
            </p:cNvPr>
            <p:cNvSpPr/>
            <p:nvPr/>
          </p:nvSpPr>
          <p:spPr bwMode="gray">
            <a:xfrm rot="8100000">
              <a:off x="6810418" y="1602865"/>
              <a:ext cx="1503841" cy="1503844"/>
            </a:xfrm>
            <a:prstGeom prst="teardrop">
              <a:avLst/>
            </a:prstGeom>
            <a:solidFill>
              <a:schemeClr val="accent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37" name="Freeform 35">
              <a:extLst>
                <a:ext uri="{FF2B5EF4-FFF2-40B4-BE49-F238E27FC236}">
                  <a16:creationId xmlns:a16="http://schemas.microsoft.com/office/drawing/2014/main" id="{15BABD54-D2E3-0F0F-C008-67749026B2A6}"/>
                </a:ext>
              </a:extLst>
            </p:cNvPr>
            <p:cNvSpPr/>
            <p:nvPr/>
          </p:nvSpPr>
          <p:spPr bwMode="gray">
            <a:xfrm>
              <a:off x="6763077"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39" name="Oval 138">
              <a:extLst>
                <a:ext uri="{FF2B5EF4-FFF2-40B4-BE49-F238E27FC236}">
                  <a16:creationId xmlns:a16="http://schemas.microsoft.com/office/drawing/2014/main" id="{C6BE5256-6A1C-A9C9-1B8F-A3B1DD078A71}"/>
                </a:ext>
              </a:extLst>
            </p:cNvPr>
            <p:cNvSpPr/>
            <p:nvPr/>
          </p:nvSpPr>
          <p:spPr bwMode="gray">
            <a:xfrm>
              <a:off x="7007153"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grpSp>
        <p:nvGrpSpPr>
          <p:cNvPr id="140" name="Group 139">
            <a:extLst>
              <a:ext uri="{FF2B5EF4-FFF2-40B4-BE49-F238E27FC236}">
                <a16:creationId xmlns:a16="http://schemas.microsoft.com/office/drawing/2014/main" id="{EEE8CA13-334F-ABD3-FDDC-08D5E366CC5B}"/>
              </a:ext>
            </a:extLst>
          </p:cNvPr>
          <p:cNvGrpSpPr/>
          <p:nvPr/>
        </p:nvGrpSpPr>
        <p:grpSpPr>
          <a:xfrm>
            <a:off x="8904319" y="2301988"/>
            <a:ext cx="1198893" cy="1504324"/>
            <a:chOff x="8355090" y="1602865"/>
            <a:chExt cx="1598523" cy="2005765"/>
          </a:xfrm>
        </p:grpSpPr>
        <p:sp>
          <p:nvSpPr>
            <p:cNvPr id="141" name="Teardrop 140">
              <a:extLst>
                <a:ext uri="{FF2B5EF4-FFF2-40B4-BE49-F238E27FC236}">
                  <a16:creationId xmlns:a16="http://schemas.microsoft.com/office/drawing/2014/main" id="{8E3F2774-901C-9C50-6DED-3D25DE9CAF65}"/>
                </a:ext>
              </a:extLst>
            </p:cNvPr>
            <p:cNvSpPr/>
            <p:nvPr/>
          </p:nvSpPr>
          <p:spPr bwMode="gray">
            <a:xfrm rot="8100000">
              <a:off x="8402430" y="1602865"/>
              <a:ext cx="1503841" cy="1503844"/>
            </a:xfrm>
            <a:prstGeom prst="teardrop">
              <a:avLst/>
            </a:prstGeom>
            <a:solidFill>
              <a:schemeClr val="accent6">
                <a:lumMod val="40000"/>
                <a:lumOff val="60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a:solidFill>
                  <a:srgbClr val="FFFFFF"/>
                </a:solidFill>
                <a:latin typeface="Verdana"/>
              </a:endParaRPr>
            </a:p>
          </p:txBody>
        </p:sp>
        <p:sp>
          <p:nvSpPr>
            <p:cNvPr id="142" name="Freeform 39">
              <a:extLst>
                <a:ext uri="{FF2B5EF4-FFF2-40B4-BE49-F238E27FC236}">
                  <a16:creationId xmlns:a16="http://schemas.microsoft.com/office/drawing/2014/main" id="{327D80FF-1FDB-B8C8-E477-0FAF87D9317A}"/>
                </a:ext>
              </a:extLst>
            </p:cNvPr>
            <p:cNvSpPr/>
            <p:nvPr/>
          </p:nvSpPr>
          <p:spPr bwMode="gray">
            <a:xfrm>
              <a:off x="8355090"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lumMod val="40000"/>
                <a:lumOff val="60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nvGrpSpPr>
            <p:cNvPr id="143" name="Group 925">
              <a:extLst>
                <a:ext uri="{FF2B5EF4-FFF2-40B4-BE49-F238E27FC236}">
                  <a16:creationId xmlns:a16="http://schemas.microsoft.com/office/drawing/2014/main" id="{C41E7A51-9A9A-4483-28E1-768C2168E122}"/>
                </a:ext>
              </a:extLst>
            </p:cNvPr>
            <p:cNvGrpSpPr>
              <a:grpSpLocks noChangeAspect="1"/>
            </p:cNvGrpSpPr>
            <p:nvPr/>
          </p:nvGrpSpPr>
          <p:grpSpPr bwMode="auto">
            <a:xfrm>
              <a:off x="8797157" y="1976744"/>
              <a:ext cx="686449" cy="682876"/>
              <a:chOff x="1224" y="3504"/>
              <a:chExt cx="192" cy="191"/>
            </a:xfrm>
            <a:solidFill>
              <a:schemeClr val="accent1"/>
            </a:solidFill>
          </p:grpSpPr>
          <p:sp>
            <p:nvSpPr>
              <p:cNvPr id="145" name="Freeform 926">
                <a:extLst>
                  <a:ext uri="{FF2B5EF4-FFF2-40B4-BE49-F238E27FC236}">
                    <a16:creationId xmlns:a16="http://schemas.microsoft.com/office/drawing/2014/main" id="{D48AAF81-0A7B-4EBB-F47F-430B166FA607}"/>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defRPr/>
                </a:pPr>
                <a:endParaRPr lang="en-GB">
                  <a:solidFill>
                    <a:srgbClr val="000000"/>
                  </a:solidFill>
                  <a:latin typeface="Verdana"/>
                </a:endParaRPr>
              </a:p>
            </p:txBody>
          </p:sp>
          <p:sp>
            <p:nvSpPr>
              <p:cNvPr id="146" name="Freeform 927">
                <a:extLst>
                  <a:ext uri="{FF2B5EF4-FFF2-40B4-BE49-F238E27FC236}">
                    <a16:creationId xmlns:a16="http://schemas.microsoft.com/office/drawing/2014/main" id="{FFE0DAAC-B9C5-0FF4-3B78-366239C21179}"/>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defRPr/>
                </a:pPr>
                <a:endParaRPr lang="en-GB">
                  <a:solidFill>
                    <a:srgbClr val="000000"/>
                  </a:solidFill>
                  <a:latin typeface="Verdana"/>
                </a:endParaRPr>
              </a:p>
            </p:txBody>
          </p:sp>
        </p:grpSp>
        <p:sp>
          <p:nvSpPr>
            <p:cNvPr id="144" name="Oval 143">
              <a:extLst>
                <a:ext uri="{FF2B5EF4-FFF2-40B4-BE49-F238E27FC236}">
                  <a16:creationId xmlns:a16="http://schemas.microsoft.com/office/drawing/2014/main" id="{0C8966C1-A3F8-6180-8D97-5776842C0728}"/>
                </a:ext>
              </a:extLst>
            </p:cNvPr>
            <p:cNvSpPr/>
            <p:nvPr/>
          </p:nvSpPr>
          <p:spPr bwMode="gray">
            <a:xfrm>
              <a:off x="8591201"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sp>
        <p:nvSpPr>
          <p:cNvPr id="148" name="Rectangle 147">
            <a:extLst>
              <a:ext uri="{FF2B5EF4-FFF2-40B4-BE49-F238E27FC236}">
                <a16:creationId xmlns:a16="http://schemas.microsoft.com/office/drawing/2014/main" id="{A7FF21FD-6897-50C0-6F64-352F39C8C9E1}"/>
              </a:ext>
            </a:extLst>
          </p:cNvPr>
          <p:cNvSpPr/>
          <p:nvPr/>
        </p:nvSpPr>
        <p:spPr bwMode="gray">
          <a:xfrm>
            <a:off x="1524002" y="3151346"/>
            <a:ext cx="587973" cy="58417"/>
          </a:xfrm>
          <a:prstGeom prst="rect">
            <a:avLst/>
          </a:pr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49" name="Rectangle 148">
            <a:extLst>
              <a:ext uri="{FF2B5EF4-FFF2-40B4-BE49-F238E27FC236}">
                <a16:creationId xmlns:a16="http://schemas.microsoft.com/office/drawing/2014/main" id="{8CC8E6D6-CD65-9623-E5B3-DF8EDC86999F}"/>
              </a:ext>
            </a:extLst>
          </p:cNvPr>
          <p:cNvSpPr/>
          <p:nvPr/>
        </p:nvSpPr>
        <p:spPr bwMode="gray">
          <a:xfrm>
            <a:off x="10043777" y="3151347"/>
            <a:ext cx="632687" cy="58417"/>
          </a:xfrm>
          <a:prstGeom prst="rect">
            <a:avLst/>
          </a:prstGeom>
          <a:solidFill>
            <a:schemeClr val="accent6">
              <a:lumMod val="40000"/>
              <a:lumOff val="60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50" name="Rectangle 149">
            <a:extLst>
              <a:ext uri="{FF2B5EF4-FFF2-40B4-BE49-F238E27FC236}">
                <a16:creationId xmlns:a16="http://schemas.microsoft.com/office/drawing/2014/main" id="{2177C2E5-022C-B496-3C1C-E80EC0721DB6}"/>
              </a:ext>
            </a:extLst>
          </p:cNvPr>
          <p:cNvSpPr/>
          <p:nvPr/>
        </p:nvSpPr>
        <p:spPr bwMode="gray">
          <a:xfrm>
            <a:off x="4954970" y="3151346"/>
            <a:ext cx="560568" cy="58417"/>
          </a:xfrm>
          <a:prstGeom prst="rect">
            <a:avLst/>
          </a:prstGeom>
          <a:gradFill>
            <a:gsLst>
              <a:gs pos="17000">
                <a:srgbClr val="046A38"/>
              </a:gs>
              <a:gs pos="83000">
                <a:schemeClr val="accent6"/>
              </a:gs>
            </a:gsLst>
            <a:lin ang="0" scaled="0"/>
          </a:gra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51" name="Rectangle 150">
            <a:extLst>
              <a:ext uri="{FF2B5EF4-FFF2-40B4-BE49-F238E27FC236}">
                <a16:creationId xmlns:a16="http://schemas.microsoft.com/office/drawing/2014/main" id="{913FC9AC-CB44-D855-72F1-A3AFDBABCCC3}"/>
              </a:ext>
            </a:extLst>
          </p:cNvPr>
          <p:cNvSpPr/>
          <p:nvPr/>
        </p:nvSpPr>
        <p:spPr bwMode="gray">
          <a:xfrm>
            <a:off x="6602468" y="3151346"/>
            <a:ext cx="673065" cy="58417"/>
          </a:xfrm>
          <a:prstGeom prst="rect">
            <a:avLst/>
          </a:prstGeom>
          <a:gradFill>
            <a:gsLst>
              <a:gs pos="17000">
                <a:schemeClr val="accent6"/>
              </a:gs>
              <a:gs pos="83000">
                <a:schemeClr val="accent1"/>
              </a:gs>
            </a:gsLst>
            <a:lin ang="0" scaled="0"/>
          </a:gra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nvGrpSpPr>
          <p:cNvPr id="154" name="Group 245">
            <a:extLst>
              <a:ext uri="{FF2B5EF4-FFF2-40B4-BE49-F238E27FC236}">
                <a16:creationId xmlns:a16="http://schemas.microsoft.com/office/drawing/2014/main" id="{7F61CD2A-BF58-0DEF-DF22-2D6C9B15A0E8}"/>
              </a:ext>
            </a:extLst>
          </p:cNvPr>
          <p:cNvGrpSpPr>
            <a:grpSpLocks noChangeAspect="1"/>
          </p:cNvGrpSpPr>
          <p:nvPr/>
        </p:nvGrpSpPr>
        <p:grpSpPr bwMode="auto">
          <a:xfrm>
            <a:off x="7558185" y="2639462"/>
            <a:ext cx="530158" cy="460137"/>
            <a:chOff x="3544" y="884"/>
            <a:chExt cx="212" cy="184"/>
          </a:xfrm>
          <a:solidFill>
            <a:schemeClr val="accent1"/>
          </a:solidFill>
        </p:grpSpPr>
        <p:sp>
          <p:nvSpPr>
            <p:cNvPr id="155" name="Freeform 247">
              <a:extLst>
                <a:ext uri="{FF2B5EF4-FFF2-40B4-BE49-F238E27FC236}">
                  <a16:creationId xmlns:a16="http://schemas.microsoft.com/office/drawing/2014/main" id="{F007C4C3-055F-7C32-471C-48987E44EC4E}"/>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sp>
          <p:nvSpPr>
            <p:cNvPr id="156" name="Freeform 248">
              <a:extLst>
                <a:ext uri="{FF2B5EF4-FFF2-40B4-BE49-F238E27FC236}">
                  <a16:creationId xmlns:a16="http://schemas.microsoft.com/office/drawing/2014/main" id="{682526D4-F2A5-1DF9-7E65-07AFC4171392}"/>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sp>
          <p:nvSpPr>
            <p:cNvPr id="157" name="Freeform 249">
              <a:extLst>
                <a:ext uri="{FF2B5EF4-FFF2-40B4-BE49-F238E27FC236}">
                  <a16:creationId xmlns:a16="http://schemas.microsoft.com/office/drawing/2014/main" id="{E22EF210-A659-70AB-BB42-98DD542BDC97}"/>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sp>
          <p:nvSpPr>
            <p:cNvPr id="158" name="Freeform 250">
              <a:extLst>
                <a:ext uri="{FF2B5EF4-FFF2-40B4-BE49-F238E27FC236}">
                  <a16:creationId xmlns:a16="http://schemas.microsoft.com/office/drawing/2014/main" id="{0A24236E-957C-FA63-A790-E053CB31BC22}"/>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grpSp>
      <p:sp>
        <p:nvSpPr>
          <p:cNvPr id="159" name="Freeform 872">
            <a:extLst>
              <a:ext uri="{FF2B5EF4-FFF2-40B4-BE49-F238E27FC236}">
                <a16:creationId xmlns:a16="http://schemas.microsoft.com/office/drawing/2014/main" id="{E1A7C458-1F4F-9C6C-D6B6-C3B3BDF39A4D}"/>
              </a:ext>
            </a:extLst>
          </p:cNvPr>
          <p:cNvSpPr>
            <a:spLocks noEditPoints="1"/>
          </p:cNvSpPr>
          <p:nvPr/>
        </p:nvSpPr>
        <p:spPr bwMode="auto">
          <a:xfrm>
            <a:off x="9273378" y="2588966"/>
            <a:ext cx="452879" cy="50702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chemeClr val="accent6">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sp>
        <p:nvSpPr>
          <p:cNvPr id="8" name="TextBox 7">
            <a:extLst>
              <a:ext uri="{FF2B5EF4-FFF2-40B4-BE49-F238E27FC236}">
                <a16:creationId xmlns:a16="http://schemas.microsoft.com/office/drawing/2014/main" id="{F582C2BD-0F79-1797-3885-B7B815B04396}"/>
              </a:ext>
            </a:extLst>
          </p:cNvPr>
          <p:cNvSpPr txBox="1"/>
          <p:nvPr/>
        </p:nvSpPr>
        <p:spPr>
          <a:xfrm>
            <a:off x="2103158" y="3775635"/>
            <a:ext cx="1124731" cy="276999"/>
          </a:xfrm>
          <a:prstGeom prst="rect">
            <a:avLst/>
          </a:prstGeom>
          <a:noFill/>
        </p:spPr>
        <p:txBody>
          <a:bodyPr wrap="none" lIns="0" tIns="0" rIns="0" bIns="0" rtlCol="0">
            <a:spAutoFit/>
          </a:bodyPr>
          <a:lstStyle/>
          <a:p>
            <a:pPr>
              <a:spcBef>
                <a:spcPts val="600"/>
              </a:spcBef>
              <a:buSzPct val="100000"/>
            </a:pPr>
            <a:r>
              <a:rPr lang="en-US">
                <a:solidFill>
                  <a:schemeClr val="bg1">
                    <a:lumMod val="85000"/>
                  </a:schemeClr>
                </a:solidFill>
              </a:rPr>
              <a:t>Workshop 1</a:t>
            </a:r>
          </a:p>
        </p:txBody>
      </p:sp>
      <p:sp>
        <p:nvSpPr>
          <p:cNvPr id="9" name="TextBox 8">
            <a:extLst>
              <a:ext uri="{FF2B5EF4-FFF2-40B4-BE49-F238E27FC236}">
                <a16:creationId xmlns:a16="http://schemas.microsoft.com/office/drawing/2014/main" id="{15D47CAB-A7B0-886C-2F8D-EB02AF2C7217}"/>
              </a:ext>
            </a:extLst>
          </p:cNvPr>
          <p:cNvSpPr txBox="1"/>
          <p:nvPr/>
        </p:nvSpPr>
        <p:spPr>
          <a:xfrm>
            <a:off x="3804234" y="3784692"/>
            <a:ext cx="1124731" cy="276999"/>
          </a:xfrm>
          <a:prstGeom prst="rect">
            <a:avLst/>
          </a:prstGeom>
          <a:noFill/>
        </p:spPr>
        <p:txBody>
          <a:bodyPr wrap="none" lIns="0" tIns="0" rIns="0" bIns="0" rtlCol="0">
            <a:spAutoFit/>
          </a:bodyPr>
          <a:lstStyle/>
          <a:p>
            <a:pPr>
              <a:spcBef>
                <a:spcPts val="600"/>
              </a:spcBef>
              <a:buSzPct val="100000"/>
            </a:pPr>
            <a:r>
              <a:rPr lang="en-US">
                <a:solidFill>
                  <a:srgbClr val="313131"/>
                </a:solidFill>
              </a:rPr>
              <a:t>Workshop 2</a:t>
            </a:r>
          </a:p>
        </p:txBody>
      </p:sp>
      <p:sp>
        <p:nvSpPr>
          <p:cNvPr id="10" name="TextBox 9">
            <a:extLst>
              <a:ext uri="{FF2B5EF4-FFF2-40B4-BE49-F238E27FC236}">
                <a16:creationId xmlns:a16="http://schemas.microsoft.com/office/drawing/2014/main" id="{65B87C1F-3486-0CDD-D596-553178ED4912}"/>
              </a:ext>
            </a:extLst>
          </p:cNvPr>
          <p:cNvSpPr txBox="1"/>
          <p:nvPr/>
        </p:nvSpPr>
        <p:spPr>
          <a:xfrm>
            <a:off x="5533634" y="3784692"/>
            <a:ext cx="1124731" cy="276999"/>
          </a:xfrm>
          <a:prstGeom prst="rect">
            <a:avLst/>
          </a:prstGeom>
          <a:noFill/>
        </p:spPr>
        <p:txBody>
          <a:bodyPr wrap="none" lIns="0" tIns="0" rIns="0" bIns="0" rtlCol="0">
            <a:spAutoFit/>
          </a:bodyPr>
          <a:lstStyle/>
          <a:p>
            <a:pPr>
              <a:spcBef>
                <a:spcPts val="600"/>
              </a:spcBef>
              <a:buSzPct val="100000"/>
            </a:pPr>
            <a:r>
              <a:rPr lang="en-US">
                <a:solidFill>
                  <a:srgbClr val="313131"/>
                </a:solidFill>
              </a:rPr>
              <a:t>Workshop 3</a:t>
            </a:r>
          </a:p>
        </p:txBody>
      </p:sp>
      <p:sp>
        <p:nvSpPr>
          <p:cNvPr id="11" name="TextBox 10">
            <a:extLst>
              <a:ext uri="{FF2B5EF4-FFF2-40B4-BE49-F238E27FC236}">
                <a16:creationId xmlns:a16="http://schemas.microsoft.com/office/drawing/2014/main" id="{022F6AEA-FB01-A2F6-9B1A-3C14263AD76A}"/>
              </a:ext>
            </a:extLst>
          </p:cNvPr>
          <p:cNvSpPr txBox="1"/>
          <p:nvPr/>
        </p:nvSpPr>
        <p:spPr>
          <a:xfrm>
            <a:off x="7304288" y="3775634"/>
            <a:ext cx="1124731" cy="276999"/>
          </a:xfrm>
          <a:prstGeom prst="rect">
            <a:avLst/>
          </a:prstGeom>
          <a:noFill/>
        </p:spPr>
        <p:txBody>
          <a:bodyPr wrap="none" lIns="0" tIns="0" rIns="0" bIns="0" rtlCol="0">
            <a:spAutoFit/>
          </a:bodyPr>
          <a:lstStyle/>
          <a:p>
            <a:pPr>
              <a:spcBef>
                <a:spcPts val="600"/>
              </a:spcBef>
              <a:buSzPct val="100000"/>
            </a:pPr>
            <a:r>
              <a:rPr lang="en-US">
                <a:solidFill>
                  <a:srgbClr val="313131"/>
                </a:solidFill>
              </a:rPr>
              <a:t>Workshop 4</a:t>
            </a:r>
          </a:p>
        </p:txBody>
      </p:sp>
      <p:sp>
        <p:nvSpPr>
          <p:cNvPr id="12" name="TextBox 11">
            <a:extLst>
              <a:ext uri="{FF2B5EF4-FFF2-40B4-BE49-F238E27FC236}">
                <a16:creationId xmlns:a16="http://schemas.microsoft.com/office/drawing/2014/main" id="{004A1F25-7DAB-6173-3DFE-9931D9BA6B58}"/>
              </a:ext>
            </a:extLst>
          </p:cNvPr>
          <p:cNvSpPr txBox="1"/>
          <p:nvPr/>
        </p:nvSpPr>
        <p:spPr>
          <a:xfrm>
            <a:off x="8729638" y="3783375"/>
            <a:ext cx="1540358" cy="276999"/>
          </a:xfrm>
          <a:prstGeom prst="rect">
            <a:avLst/>
          </a:prstGeom>
          <a:noFill/>
        </p:spPr>
        <p:txBody>
          <a:bodyPr wrap="none" lIns="0" tIns="0" rIns="0" bIns="0" rtlCol="0">
            <a:spAutoFit/>
          </a:bodyPr>
          <a:lstStyle/>
          <a:p>
            <a:pPr>
              <a:spcBef>
                <a:spcPts val="600"/>
              </a:spcBef>
              <a:buSzPct val="100000"/>
            </a:pPr>
            <a:r>
              <a:rPr lang="en-US">
                <a:solidFill>
                  <a:srgbClr val="313131"/>
                </a:solidFill>
              </a:rPr>
              <a:t>Workshops 5 &amp;6</a:t>
            </a:r>
          </a:p>
        </p:txBody>
      </p:sp>
      <p:pic>
        <p:nvPicPr>
          <p:cNvPr id="17" name="Graphic 16" descr="Scales of justice with solid fill">
            <a:extLst>
              <a:ext uri="{FF2B5EF4-FFF2-40B4-BE49-F238E27FC236}">
                <a16:creationId xmlns:a16="http://schemas.microsoft.com/office/drawing/2014/main" id="{6A2D1BD1-11D5-619F-3FDC-34F3A7554C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26576" y="2518102"/>
            <a:ext cx="633244" cy="633244"/>
          </a:xfrm>
          <a:prstGeom prst="rect">
            <a:avLst/>
          </a:prstGeom>
        </p:spPr>
      </p:pic>
      <p:pic>
        <p:nvPicPr>
          <p:cNvPr id="19" name="Graphic 18" descr="Research with solid fill">
            <a:extLst>
              <a:ext uri="{FF2B5EF4-FFF2-40B4-BE49-F238E27FC236}">
                <a16:creationId xmlns:a16="http://schemas.microsoft.com/office/drawing/2014/main" id="{286B9F07-7972-F688-A2C7-9AE0315D71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52122" y="2488275"/>
            <a:ext cx="708407" cy="708407"/>
          </a:xfrm>
          <a:prstGeom prst="rect">
            <a:avLst/>
          </a:prstGeom>
        </p:spPr>
      </p:pic>
      <p:pic>
        <p:nvPicPr>
          <p:cNvPr id="21" name="Graphic 20" descr="Pencil with solid fill">
            <a:extLst>
              <a:ext uri="{FF2B5EF4-FFF2-40B4-BE49-F238E27FC236}">
                <a16:creationId xmlns:a16="http://schemas.microsoft.com/office/drawing/2014/main" id="{6E6894A2-5E65-6C5E-DA60-86956721F9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57926" y="2518102"/>
            <a:ext cx="612592" cy="612592"/>
          </a:xfrm>
          <a:prstGeom prst="rect">
            <a:avLst/>
          </a:prstGeom>
        </p:spPr>
      </p:pic>
    </p:spTree>
    <p:extLst>
      <p:ext uri="{BB962C8B-B14F-4D97-AF65-F5344CB8AC3E}">
        <p14:creationId xmlns:p14="http://schemas.microsoft.com/office/powerpoint/2010/main" val="35352469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B54BB1F-D09F-AA0E-9870-F81B8E5A593A}"/>
              </a:ext>
            </a:extLst>
          </p:cNvPr>
          <p:cNvSpPr txBox="1"/>
          <p:nvPr/>
        </p:nvSpPr>
        <p:spPr>
          <a:xfrm>
            <a:off x="3552354" y="3309729"/>
            <a:ext cx="1689969" cy="2651760"/>
          </a:xfrm>
          <a:prstGeom prst="rect">
            <a:avLst/>
          </a:prstGeom>
          <a:solidFill>
            <a:schemeClr val="bg1"/>
          </a:solidFill>
          <a:ln w="15875">
            <a:solidFill>
              <a:schemeClr val="tx1">
                <a:lumMod val="65000"/>
                <a:lumOff val="35000"/>
              </a:schemeClr>
            </a:solidFill>
            <a:prstDash val="dash"/>
          </a:ln>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
        <p:nvSpPr>
          <p:cNvPr id="2" name="Text Placeholder 1">
            <a:extLst>
              <a:ext uri="{FF2B5EF4-FFF2-40B4-BE49-F238E27FC236}">
                <a16:creationId xmlns:a16="http://schemas.microsoft.com/office/drawing/2014/main" id="{D66BAC33-0E17-A443-A36A-FE8E97916217}"/>
              </a:ext>
            </a:extLst>
          </p:cNvPr>
          <p:cNvSpPr>
            <a:spLocks noGrp="1"/>
          </p:cNvSpPr>
          <p:nvPr>
            <p:ph type="body" sz="quarter" idx="13"/>
          </p:nvPr>
        </p:nvSpPr>
        <p:spPr>
          <a:xfrm>
            <a:off x="501652" y="651600"/>
            <a:ext cx="11188700" cy="334099"/>
          </a:xfrm>
        </p:spPr>
        <p:txBody>
          <a:bodyPr/>
          <a:lstStyle/>
          <a:p>
            <a:r>
              <a:rPr lang="en-US"/>
              <a:t>Purpose and Scope</a:t>
            </a:r>
          </a:p>
        </p:txBody>
      </p:sp>
      <p:sp>
        <p:nvSpPr>
          <p:cNvPr id="3" name="Title 2">
            <a:extLst>
              <a:ext uri="{FF2B5EF4-FFF2-40B4-BE49-F238E27FC236}">
                <a16:creationId xmlns:a16="http://schemas.microsoft.com/office/drawing/2014/main" id="{9510A51B-281E-4DD0-BCB8-0BB86F46BBAF}"/>
              </a:ext>
            </a:extLst>
          </p:cNvPr>
          <p:cNvSpPr>
            <a:spLocks noGrp="1"/>
          </p:cNvSpPr>
          <p:nvPr>
            <p:ph type="title"/>
          </p:nvPr>
        </p:nvSpPr>
        <p:spPr/>
        <p:txBody>
          <a:bodyPr/>
          <a:lstStyle/>
          <a:p>
            <a:r>
              <a:rPr lang="en-US" sz="2400" b="1">
                <a:latin typeface="Open Sans  "/>
              </a:rPr>
              <a:t>Overview</a:t>
            </a:r>
            <a:br>
              <a:rPr lang="en-US" sz="2400"/>
            </a:br>
            <a:endParaRPr lang="en-US" sz="2400"/>
          </a:p>
        </p:txBody>
      </p:sp>
      <p:sp>
        <p:nvSpPr>
          <p:cNvPr id="100" name="Rectangle 5">
            <a:extLst>
              <a:ext uri="{FF2B5EF4-FFF2-40B4-BE49-F238E27FC236}">
                <a16:creationId xmlns:a16="http://schemas.microsoft.com/office/drawing/2014/main" id="{D818A44A-E511-45D4-B2D6-5461597CA302}"/>
              </a:ext>
            </a:extLst>
          </p:cNvPr>
          <p:cNvSpPr/>
          <p:nvPr/>
        </p:nvSpPr>
        <p:spPr bwMode="gray">
          <a:xfrm>
            <a:off x="8695575" y="5169911"/>
            <a:ext cx="1620000" cy="405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01" name="Rectangle 3">
            <a:extLst>
              <a:ext uri="{FF2B5EF4-FFF2-40B4-BE49-F238E27FC236}">
                <a16:creationId xmlns:a16="http://schemas.microsoft.com/office/drawing/2014/main" id="{7AA53DAB-12EB-4497-A3D2-F221665D8D86}"/>
              </a:ext>
            </a:extLst>
          </p:cNvPr>
          <p:cNvSpPr/>
          <p:nvPr/>
        </p:nvSpPr>
        <p:spPr bwMode="gray">
          <a:xfrm>
            <a:off x="3581213" y="5169911"/>
            <a:ext cx="1620000" cy="40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05" name="Rectangle 4">
            <a:extLst>
              <a:ext uri="{FF2B5EF4-FFF2-40B4-BE49-F238E27FC236}">
                <a16:creationId xmlns:a16="http://schemas.microsoft.com/office/drawing/2014/main" id="{CCCC734A-C57E-410D-B5A5-BC47B8BA63AF}"/>
              </a:ext>
            </a:extLst>
          </p:cNvPr>
          <p:cNvSpPr/>
          <p:nvPr/>
        </p:nvSpPr>
        <p:spPr bwMode="gray">
          <a:xfrm>
            <a:off x="1876425" y="5164694"/>
            <a:ext cx="1620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07" name="Rectangle 3">
            <a:extLst>
              <a:ext uri="{FF2B5EF4-FFF2-40B4-BE49-F238E27FC236}">
                <a16:creationId xmlns:a16="http://schemas.microsoft.com/office/drawing/2014/main" id="{3D2F90D7-A13A-4887-A373-3BE0BEC51615}"/>
              </a:ext>
            </a:extLst>
          </p:cNvPr>
          <p:cNvSpPr/>
          <p:nvPr/>
        </p:nvSpPr>
        <p:spPr bwMode="gray">
          <a:xfrm>
            <a:off x="5286000" y="5169911"/>
            <a:ext cx="1620000" cy="40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08" name="Rectangle 5">
            <a:extLst>
              <a:ext uri="{FF2B5EF4-FFF2-40B4-BE49-F238E27FC236}">
                <a16:creationId xmlns:a16="http://schemas.microsoft.com/office/drawing/2014/main" id="{29EF69E9-7F38-4B85-9F75-DB513DB8A8DA}"/>
              </a:ext>
            </a:extLst>
          </p:cNvPr>
          <p:cNvSpPr/>
          <p:nvPr/>
        </p:nvSpPr>
        <p:spPr bwMode="gray">
          <a:xfrm>
            <a:off x="6990788" y="5169911"/>
            <a:ext cx="1620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endParaRPr lang="en-US" sz="825">
              <a:solidFill>
                <a:prstClr val="white"/>
              </a:solidFill>
              <a:latin typeface="Calibri Light"/>
            </a:endParaRPr>
          </a:p>
        </p:txBody>
      </p:sp>
      <p:sp>
        <p:nvSpPr>
          <p:cNvPr id="110" name="Text Placeholder 3">
            <a:extLst>
              <a:ext uri="{FF2B5EF4-FFF2-40B4-BE49-F238E27FC236}">
                <a16:creationId xmlns:a16="http://schemas.microsoft.com/office/drawing/2014/main" id="{1CC600D2-1B61-42B8-A53D-A0A30767A817}"/>
              </a:ext>
            </a:extLst>
          </p:cNvPr>
          <p:cNvSpPr txBox="1">
            <a:spLocks/>
          </p:cNvSpPr>
          <p:nvPr/>
        </p:nvSpPr>
        <p:spPr bwMode="gray">
          <a:xfrm>
            <a:off x="8566955" y="4480381"/>
            <a:ext cx="1906289" cy="1560088"/>
          </a:xfrm>
          <a:prstGeom prst="rect">
            <a:avLst/>
          </a:prstGeom>
          <a:ln>
            <a:noFill/>
          </a:ln>
        </p:spPr>
        <p:txBody>
          <a:bodyPr vert="horz" wrap="square" lIns="0" tIns="78300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685800">
              <a:spcBef>
                <a:spcPts val="0"/>
              </a:spcBef>
              <a:defRPr/>
            </a:pPr>
            <a:r>
              <a:rPr lang="en-US" sz="1000">
                <a:solidFill>
                  <a:schemeClr val="tx1"/>
                </a:solidFill>
              </a:rPr>
              <a:t>Industry Open Questions</a:t>
            </a:r>
          </a:p>
          <a:p>
            <a:pPr lvl="1" algn="ctr" defTabSz="685800">
              <a:spcBef>
                <a:spcPts val="0"/>
              </a:spcBef>
              <a:defRPr/>
            </a:pPr>
            <a:r>
              <a:rPr lang="en-US" sz="1000">
                <a:solidFill>
                  <a:schemeClr val="tx1"/>
                </a:solidFill>
              </a:rPr>
              <a:t>Technology Implications &amp; Considerations</a:t>
            </a:r>
          </a:p>
          <a:p>
            <a:pPr lvl="1" algn="ctr" defTabSz="685800">
              <a:spcBef>
                <a:spcPts val="0"/>
              </a:spcBef>
              <a:defRPr/>
            </a:pPr>
            <a:r>
              <a:rPr lang="en-GB" sz="1000">
                <a:solidFill>
                  <a:schemeClr val="tx1"/>
                </a:solidFill>
              </a:rPr>
              <a:t>Margin Deep Dive</a:t>
            </a:r>
          </a:p>
          <a:p>
            <a:pPr lvl="1" algn="ctr" defTabSz="685800">
              <a:spcBef>
                <a:spcPts val="0"/>
              </a:spcBef>
              <a:defRPr/>
            </a:pPr>
            <a:r>
              <a:rPr lang="en-GB" sz="1000">
                <a:solidFill>
                  <a:schemeClr val="tx1"/>
                </a:solidFill>
              </a:rPr>
              <a:t>ICE and CME Capabilities*</a:t>
            </a:r>
            <a:endParaRPr lang="en-US" sz="600" b="0">
              <a:solidFill>
                <a:schemeClr val="tx1"/>
              </a:solidFill>
            </a:endParaRPr>
          </a:p>
        </p:txBody>
      </p:sp>
      <p:sp>
        <p:nvSpPr>
          <p:cNvPr id="111" name="Text Placeholder 3">
            <a:extLst>
              <a:ext uri="{FF2B5EF4-FFF2-40B4-BE49-F238E27FC236}">
                <a16:creationId xmlns:a16="http://schemas.microsoft.com/office/drawing/2014/main" id="{638C9B80-D9F8-4D8D-91B0-36D6AB20E6B8}"/>
              </a:ext>
            </a:extLst>
          </p:cNvPr>
          <p:cNvSpPr txBox="1">
            <a:spLocks/>
          </p:cNvSpPr>
          <p:nvPr/>
        </p:nvSpPr>
        <p:spPr bwMode="gray">
          <a:xfrm>
            <a:off x="3576380" y="4480381"/>
            <a:ext cx="1620000" cy="1113812"/>
          </a:xfrm>
          <a:prstGeom prst="rect">
            <a:avLst/>
          </a:prstGeom>
          <a:ln>
            <a:noFill/>
          </a:ln>
        </p:spPr>
        <p:txBody>
          <a:bodyPr vert="horz" lIns="0" tIns="783000" rIns="0" bIns="0" rtlCol="0" anchor="t">
            <a:spAutoFit/>
          </a:bodyPr>
          <a:lstStyle>
            <a:defPPr>
              <a:defRPr lang="en-US"/>
            </a:defPPr>
            <a:lvl2pPr marL="0" lvl="1">
              <a:spcBef>
                <a:spcPts val="1200"/>
              </a:spcBef>
              <a:buSzPct val="100000"/>
              <a:defRPr sz="1200" b="1">
                <a:solidFill>
                  <a:schemeClr val="accent6">
                    <a:lumMod val="40000"/>
                    <a:lumOff val="60000"/>
                  </a:schemeClr>
                </a:solidFill>
              </a:defRPr>
            </a:lvl2pPr>
          </a:lstStyle>
          <a:p>
            <a:pPr lvl="1" algn="ctr" defTabSz="685800">
              <a:spcBef>
                <a:spcPts val="900"/>
              </a:spcBef>
              <a:defRPr/>
            </a:pPr>
            <a:r>
              <a:rPr lang="en-US" sz="1000">
                <a:solidFill>
                  <a:schemeClr val="accent4"/>
                </a:solidFill>
              </a:rPr>
              <a:t>FICC Access Models &amp; Margin Analysis</a:t>
            </a:r>
          </a:p>
        </p:txBody>
      </p:sp>
      <p:sp>
        <p:nvSpPr>
          <p:cNvPr id="113" name="Text Placeholder 3">
            <a:extLst>
              <a:ext uri="{FF2B5EF4-FFF2-40B4-BE49-F238E27FC236}">
                <a16:creationId xmlns:a16="http://schemas.microsoft.com/office/drawing/2014/main" id="{043C274B-2C0D-4EF5-9D2D-186BA04A4A62}"/>
              </a:ext>
            </a:extLst>
          </p:cNvPr>
          <p:cNvSpPr txBox="1">
            <a:spLocks/>
          </p:cNvSpPr>
          <p:nvPr/>
        </p:nvSpPr>
        <p:spPr bwMode="gray">
          <a:xfrm>
            <a:off x="1866768" y="4480381"/>
            <a:ext cx="1595067" cy="1252311"/>
          </a:xfrm>
          <a:prstGeom prst="rect">
            <a:avLst/>
          </a:prstGeom>
          <a:ln>
            <a:noFill/>
          </a:ln>
        </p:spPr>
        <p:txBody>
          <a:bodyPr vert="horz" wrap="square" lIns="0" tIns="783000" rIns="0" bIns="0" rtlCol="0" anchor="t">
            <a:spAutoFit/>
          </a:bodyPr>
          <a:lstStyle/>
          <a:p>
            <a:pPr marL="0" lvl="1" algn="ctr" defTabSz="685800">
              <a:spcBef>
                <a:spcPts val="900"/>
              </a:spcBef>
              <a:buSzPct val="100000"/>
              <a:defRPr/>
            </a:pPr>
            <a:r>
              <a:rPr lang="en-US" sz="1000" b="1">
                <a:solidFill>
                  <a:schemeClr val="bg1">
                    <a:lumMod val="85000"/>
                  </a:schemeClr>
                </a:solidFill>
              </a:rPr>
              <a:t>SEC Mandate, FICC Rulebook Overview &amp; Industry Implications</a:t>
            </a:r>
          </a:p>
        </p:txBody>
      </p:sp>
      <p:sp>
        <p:nvSpPr>
          <p:cNvPr id="114" name="Text Placeholder 3">
            <a:extLst>
              <a:ext uri="{FF2B5EF4-FFF2-40B4-BE49-F238E27FC236}">
                <a16:creationId xmlns:a16="http://schemas.microsoft.com/office/drawing/2014/main" id="{27443C9F-6F38-41D1-9AF7-CF5253A53CFD}"/>
              </a:ext>
            </a:extLst>
          </p:cNvPr>
          <p:cNvSpPr txBox="1">
            <a:spLocks/>
          </p:cNvSpPr>
          <p:nvPr/>
        </p:nvSpPr>
        <p:spPr bwMode="gray">
          <a:xfrm>
            <a:off x="5286000" y="4480381"/>
            <a:ext cx="1620000" cy="944535"/>
          </a:xfrm>
          <a:prstGeom prst="rect">
            <a:avLst/>
          </a:prstGeom>
          <a:ln>
            <a:noFill/>
          </a:ln>
        </p:spPr>
        <p:txBody>
          <a:bodyPr vert="horz" lIns="0" tIns="78300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685800">
              <a:spcBef>
                <a:spcPts val="900"/>
              </a:spcBef>
              <a:defRPr/>
            </a:pPr>
            <a:r>
              <a:rPr lang="en-US" sz="1000">
                <a:solidFill>
                  <a:srgbClr val="007CB0"/>
                </a:solidFill>
              </a:rPr>
              <a:t>ICE and CME capabilities</a:t>
            </a:r>
          </a:p>
        </p:txBody>
      </p:sp>
      <p:sp>
        <p:nvSpPr>
          <p:cNvPr id="115" name="Text Placeholder 3">
            <a:extLst>
              <a:ext uri="{FF2B5EF4-FFF2-40B4-BE49-F238E27FC236}">
                <a16:creationId xmlns:a16="http://schemas.microsoft.com/office/drawing/2014/main" id="{F92BC711-077A-4D01-94DA-7128D3D3BB6A}"/>
              </a:ext>
            </a:extLst>
          </p:cNvPr>
          <p:cNvSpPr txBox="1">
            <a:spLocks/>
          </p:cNvSpPr>
          <p:nvPr/>
        </p:nvSpPr>
        <p:spPr bwMode="gray">
          <a:xfrm>
            <a:off x="6990788" y="4480381"/>
            <a:ext cx="1620000" cy="975312"/>
          </a:xfrm>
          <a:prstGeom prst="rect">
            <a:avLst/>
          </a:prstGeom>
          <a:ln>
            <a:noFill/>
          </a:ln>
        </p:spPr>
        <p:txBody>
          <a:bodyPr vert="horz" lIns="0" tIns="78300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685800">
              <a:spcBef>
                <a:spcPts val="900"/>
              </a:spcBef>
              <a:defRPr/>
            </a:pPr>
            <a:r>
              <a:rPr lang="en-US" sz="1000"/>
              <a:t>Implementation Planning</a:t>
            </a:r>
            <a:endParaRPr lang="en-US" sz="1000">
              <a:solidFill>
                <a:prstClr val="black"/>
              </a:solidFill>
            </a:endParaRPr>
          </a:p>
        </p:txBody>
      </p:sp>
      <p:sp>
        <p:nvSpPr>
          <p:cNvPr id="116" name="Rectangle 115">
            <a:extLst>
              <a:ext uri="{FF2B5EF4-FFF2-40B4-BE49-F238E27FC236}">
                <a16:creationId xmlns:a16="http://schemas.microsoft.com/office/drawing/2014/main" id="{D4EDFEF8-557F-49C3-A558-7FE3B642AC34}"/>
              </a:ext>
            </a:extLst>
          </p:cNvPr>
          <p:cNvSpPr/>
          <p:nvPr/>
        </p:nvSpPr>
        <p:spPr bwMode="gray">
          <a:xfrm>
            <a:off x="8375979" y="4255216"/>
            <a:ext cx="582341" cy="58417"/>
          </a:xfrm>
          <a:prstGeom prst="rect">
            <a:avLst/>
          </a:prstGeom>
          <a:gradFill>
            <a:gsLst>
              <a:gs pos="16000">
                <a:schemeClr val="accent1"/>
              </a:gs>
              <a:gs pos="83000">
                <a:schemeClr val="accent6">
                  <a:lumMod val="40000"/>
                  <a:lumOff val="60000"/>
                </a:schemeClr>
              </a:gs>
            </a:gsLst>
            <a:lin ang="0" scaled="0"/>
          </a:gra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19" name="Rectangle 118">
            <a:extLst>
              <a:ext uri="{FF2B5EF4-FFF2-40B4-BE49-F238E27FC236}">
                <a16:creationId xmlns:a16="http://schemas.microsoft.com/office/drawing/2014/main" id="{744FF225-4BB4-42B6-ABE2-F4E1036D3532}"/>
              </a:ext>
            </a:extLst>
          </p:cNvPr>
          <p:cNvSpPr/>
          <p:nvPr/>
        </p:nvSpPr>
        <p:spPr bwMode="gray">
          <a:xfrm>
            <a:off x="3180421" y="4255217"/>
            <a:ext cx="681616" cy="58417"/>
          </a:xfrm>
          <a:prstGeom prst="rect">
            <a:avLst/>
          </a:prstGeom>
          <a:gradFill>
            <a:gsLst>
              <a:gs pos="17000">
                <a:schemeClr val="bg1">
                  <a:lumMod val="85000"/>
                </a:schemeClr>
              </a:gs>
              <a:gs pos="83000">
                <a:srgbClr val="046A38"/>
              </a:gs>
            </a:gsLst>
            <a:lin ang="0" scaled="0"/>
          </a:gra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nvGrpSpPr>
          <p:cNvPr id="120" name="Group 119">
            <a:extLst>
              <a:ext uri="{FF2B5EF4-FFF2-40B4-BE49-F238E27FC236}">
                <a16:creationId xmlns:a16="http://schemas.microsoft.com/office/drawing/2014/main" id="{63EC2A19-030D-4F6D-AAE3-0638CADC878A}"/>
              </a:ext>
            </a:extLst>
          </p:cNvPr>
          <p:cNvGrpSpPr/>
          <p:nvPr/>
        </p:nvGrpSpPr>
        <p:grpSpPr>
          <a:xfrm>
            <a:off x="2055429" y="3405858"/>
            <a:ext cx="1198893" cy="1504324"/>
            <a:chOff x="2055768" y="1602865"/>
            <a:chExt cx="1598523" cy="2005765"/>
          </a:xfrm>
        </p:grpSpPr>
        <p:sp>
          <p:nvSpPr>
            <p:cNvPr id="122" name="Teardrop 121">
              <a:extLst>
                <a:ext uri="{FF2B5EF4-FFF2-40B4-BE49-F238E27FC236}">
                  <a16:creationId xmlns:a16="http://schemas.microsoft.com/office/drawing/2014/main" id="{36921185-60E3-4E47-9B80-4E6E488065D9}"/>
                </a:ext>
              </a:extLst>
            </p:cNvPr>
            <p:cNvSpPr/>
            <p:nvPr/>
          </p:nvSpPr>
          <p:spPr bwMode="gray">
            <a:xfrm rot="8100000">
              <a:off x="2103109" y="1602865"/>
              <a:ext cx="1503841" cy="1503844"/>
            </a:xfrm>
            <a:prstGeom prst="teardrop">
              <a:avLst/>
            </a:pr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23" name="Freeform 23">
              <a:extLst>
                <a:ext uri="{FF2B5EF4-FFF2-40B4-BE49-F238E27FC236}">
                  <a16:creationId xmlns:a16="http://schemas.microsoft.com/office/drawing/2014/main" id="{63543E58-773F-4ECC-AE41-B64295829B6E}"/>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25" name="Oval 124">
              <a:extLst>
                <a:ext uri="{FF2B5EF4-FFF2-40B4-BE49-F238E27FC236}">
                  <a16:creationId xmlns:a16="http://schemas.microsoft.com/office/drawing/2014/main" id="{921DCB89-68EB-4171-B7ED-C7750D1C6101}"/>
                </a:ext>
              </a:extLst>
            </p:cNvPr>
            <p:cNvSpPr/>
            <p:nvPr/>
          </p:nvSpPr>
          <p:spPr bwMode="gray">
            <a:xfrm>
              <a:off x="2303206"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grpSp>
        <p:nvGrpSpPr>
          <p:cNvPr id="126" name="Group 125">
            <a:extLst>
              <a:ext uri="{FF2B5EF4-FFF2-40B4-BE49-F238E27FC236}">
                <a16:creationId xmlns:a16="http://schemas.microsoft.com/office/drawing/2014/main" id="{A6664128-FFF9-4B21-8A4E-12599E521DD0}"/>
              </a:ext>
            </a:extLst>
          </p:cNvPr>
          <p:cNvGrpSpPr/>
          <p:nvPr/>
        </p:nvGrpSpPr>
        <p:grpSpPr>
          <a:xfrm>
            <a:off x="3809058" y="3405858"/>
            <a:ext cx="1198892" cy="1504324"/>
            <a:chOff x="3622989" y="1602865"/>
            <a:chExt cx="1598523" cy="2005765"/>
          </a:xfrm>
        </p:grpSpPr>
        <p:sp>
          <p:nvSpPr>
            <p:cNvPr id="127" name="Teardrop 126">
              <a:extLst>
                <a:ext uri="{FF2B5EF4-FFF2-40B4-BE49-F238E27FC236}">
                  <a16:creationId xmlns:a16="http://schemas.microsoft.com/office/drawing/2014/main" id="{8700C81D-8B09-45CB-9BA7-46CE17AC84C4}"/>
                </a:ext>
              </a:extLst>
            </p:cNvPr>
            <p:cNvSpPr/>
            <p:nvPr/>
          </p:nvSpPr>
          <p:spPr bwMode="gray">
            <a:xfrm rot="8100000">
              <a:off x="3670329" y="1602865"/>
              <a:ext cx="1503841" cy="1503844"/>
            </a:xfrm>
            <a:prstGeom prst="teardrop">
              <a:avLst/>
            </a:prstGeom>
            <a:solidFill>
              <a:schemeClr val="accent4"/>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046A38"/>
                </a:solidFill>
                <a:latin typeface="Verdana"/>
              </a:endParaRPr>
            </a:p>
          </p:txBody>
        </p:sp>
        <p:sp>
          <p:nvSpPr>
            <p:cNvPr id="128" name="Freeform 27">
              <a:extLst>
                <a:ext uri="{FF2B5EF4-FFF2-40B4-BE49-F238E27FC236}">
                  <a16:creationId xmlns:a16="http://schemas.microsoft.com/office/drawing/2014/main" id="{3462ED85-0C05-4CE2-AE44-6035A8D1A9C4}"/>
                </a:ext>
              </a:extLst>
            </p:cNvPr>
            <p:cNvSpPr/>
            <p:nvPr/>
          </p:nvSpPr>
          <p:spPr bwMode="gray">
            <a:xfrm>
              <a:off x="362298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4"/>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046A38"/>
                </a:solidFill>
                <a:latin typeface="Verdana"/>
              </a:endParaRPr>
            </a:p>
          </p:txBody>
        </p:sp>
        <p:sp>
          <p:nvSpPr>
            <p:cNvPr id="129" name="Oval 128">
              <a:extLst>
                <a:ext uri="{FF2B5EF4-FFF2-40B4-BE49-F238E27FC236}">
                  <a16:creationId xmlns:a16="http://schemas.microsoft.com/office/drawing/2014/main" id="{DFD0DB57-AC18-4EF1-907F-BF455E79E8D1}"/>
                </a:ext>
              </a:extLst>
            </p:cNvPr>
            <p:cNvSpPr/>
            <p:nvPr/>
          </p:nvSpPr>
          <p:spPr bwMode="gray">
            <a:xfrm>
              <a:off x="3862715"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046A38"/>
                </a:solidFill>
                <a:latin typeface="Verdana"/>
              </a:endParaRPr>
            </a:p>
          </p:txBody>
        </p:sp>
      </p:grpSp>
      <p:grpSp>
        <p:nvGrpSpPr>
          <p:cNvPr id="130" name="Group 129">
            <a:extLst>
              <a:ext uri="{FF2B5EF4-FFF2-40B4-BE49-F238E27FC236}">
                <a16:creationId xmlns:a16="http://schemas.microsoft.com/office/drawing/2014/main" id="{B5416F2C-AE2C-4787-B0F9-06E24C1BCA16}"/>
              </a:ext>
            </a:extLst>
          </p:cNvPr>
          <p:cNvGrpSpPr/>
          <p:nvPr/>
        </p:nvGrpSpPr>
        <p:grpSpPr>
          <a:xfrm>
            <a:off x="5464777" y="3405858"/>
            <a:ext cx="1198892" cy="1504324"/>
            <a:chOff x="5190209" y="1602865"/>
            <a:chExt cx="1598523" cy="2005765"/>
          </a:xfrm>
        </p:grpSpPr>
        <p:sp>
          <p:nvSpPr>
            <p:cNvPr id="131" name="Teardrop 130">
              <a:extLst>
                <a:ext uri="{FF2B5EF4-FFF2-40B4-BE49-F238E27FC236}">
                  <a16:creationId xmlns:a16="http://schemas.microsoft.com/office/drawing/2014/main" id="{8DAD929B-B306-448A-8D7F-6670106F5B07}"/>
                </a:ext>
              </a:extLst>
            </p:cNvPr>
            <p:cNvSpPr/>
            <p:nvPr/>
          </p:nvSpPr>
          <p:spPr bwMode="gray">
            <a:xfrm rot="8100000">
              <a:off x="5237549" y="1602865"/>
              <a:ext cx="1503841" cy="1503844"/>
            </a:xfrm>
            <a:prstGeom prst="teardrop">
              <a:avLst/>
            </a:pr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32" name="Freeform 31">
              <a:extLst>
                <a:ext uri="{FF2B5EF4-FFF2-40B4-BE49-F238E27FC236}">
                  <a16:creationId xmlns:a16="http://schemas.microsoft.com/office/drawing/2014/main" id="{02DA98FE-67F2-4190-B846-BC71955D5DCF}"/>
                </a:ext>
              </a:extLst>
            </p:cNvPr>
            <p:cNvSpPr/>
            <p:nvPr/>
          </p:nvSpPr>
          <p:spPr bwMode="gray">
            <a:xfrm>
              <a:off x="519020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34" name="Oval 133">
              <a:extLst>
                <a:ext uri="{FF2B5EF4-FFF2-40B4-BE49-F238E27FC236}">
                  <a16:creationId xmlns:a16="http://schemas.microsoft.com/office/drawing/2014/main" id="{4AB60942-A244-4F0B-8B45-012B9C782162}"/>
                </a:ext>
              </a:extLst>
            </p:cNvPr>
            <p:cNvSpPr/>
            <p:nvPr/>
          </p:nvSpPr>
          <p:spPr bwMode="gray">
            <a:xfrm>
              <a:off x="5429936"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grpSp>
        <p:nvGrpSpPr>
          <p:cNvPr id="135" name="Group 134">
            <a:extLst>
              <a:ext uri="{FF2B5EF4-FFF2-40B4-BE49-F238E27FC236}">
                <a16:creationId xmlns:a16="http://schemas.microsoft.com/office/drawing/2014/main" id="{583E8883-3086-48B1-8236-60731D417E74}"/>
              </a:ext>
            </a:extLst>
          </p:cNvPr>
          <p:cNvGrpSpPr/>
          <p:nvPr/>
        </p:nvGrpSpPr>
        <p:grpSpPr>
          <a:xfrm>
            <a:off x="7230127" y="3405858"/>
            <a:ext cx="1198892" cy="1504324"/>
            <a:chOff x="6763077" y="1602865"/>
            <a:chExt cx="1598523" cy="2005765"/>
          </a:xfrm>
        </p:grpSpPr>
        <p:sp>
          <p:nvSpPr>
            <p:cNvPr id="136" name="Teardrop 135">
              <a:extLst>
                <a:ext uri="{FF2B5EF4-FFF2-40B4-BE49-F238E27FC236}">
                  <a16:creationId xmlns:a16="http://schemas.microsoft.com/office/drawing/2014/main" id="{500582AA-607B-4C0A-9AA8-B49305A1C27A}"/>
                </a:ext>
              </a:extLst>
            </p:cNvPr>
            <p:cNvSpPr/>
            <p:nvPr/>
          </p:nvSpPr>
          <p:spPr bwMode="gray">
            <a:xfrm rot="8100000">
              <a:off x="6810418" y="1602865"/>
              <a:ext cx="1503841" cy="1503844"/>
            </a:xfrm>
            <a:prstGeom prst="teardrop">
              <a:avLst/>
            </a:prstGeom>
            <a:solidFill>
              <a:schemeClr val="accent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37" name="Freeform 35">
              <a:extLst>
                <a:ext uri="{FF2B5EF4-FFF2-40B4-BE49-F238E27FC236}">
                  <a16:creationId xmlns:a16="http://schemas.microsoft.com/office/drawing/2014/main" id="{8EEC739B-9B53-49BA-94AC-06DD070756DA}"/>
                </a:ext>
              </a:extLst>
            </p:cNvPr>
            <p:cNvSpPr/>
            <p:nvPr/>
          </p:nvSpPr>
          <p:spPr bwMode="gray">
            <a:xfrm>
              <a:off x="6763077"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39" name="Oval 138">
              <a:extLst>
                <a:ext uri="{FF2B5EF4-FFF2-40B4-BE49-F238E27FC236}">
                  <a16:creationId xmlns:a16="http://schemas.microsoft.com/office/drawing/2014/main" id="{870972BF-AB98-4CC2-BB60-84903DB5CFE2}"/>
                </a:ext>
              </a:extLst>
            </p:cNvPr>
            <p:cNvSpPr/>
            <p:nvPr/>
          </p:nvSpPr>
          <p:spPr bwMode="gray">
            <a:xfrm>
              <a:off x="7007153"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grpSp>
        <p:nvGrpSpPr>
          <p:cNvPr id="140" name="Group 139">
            <a:extLst>
              <a:ext uri="{FF2B5EF4-FFF2-40B4-BE49-F238E27FC236}">
                <a16:creationId xmlns:a16="http://schemas.microsoft.com/office/drawing/2014/main" id="{2746340E-86D4-41CA-93A9-4E98D191BE05}"/>
              </a:ext>
            </a:extLst>
          </p:cNvPr>
          <p:cNvGrpSpPr/>
          <p:nvPr/>
        </p:nvGrpSpPr>
        <p:grpSpPr>
          <a:xfrm>
            <a:off x="8904319" y="3405858"/>
            <a:ext cx="1198893" cy="1504324"/>
            <a:chOff x="8355090" y="1602865"/>
            <a:chExt cx="1598523" cy="2005765"/>
          </a:xfrm>
        </p:grpSpPr>
        <p:sp>
          <p:nvSpPr>
            <p:cNvPr id="141" name="Teardrop 140">
              <a:extLst>
                <a:ext uri="{FF2B5EF4-FFF2-40B4-BE49-F238E27FC236}">
                  <a16:creationId xmlns:a16="http://schemas.microsoft.com/office/drawing/2014/main" id="{78FD4A15-BB61-4D87-9E87-382B927FB4C9}"/>
                </a:ext>
              </a:extLst>
            </p:cNvPr>
            <p:cNvSpPr/>
            <p:nvPr/>
          </p:nvSpPr>
          <p:spPr bwMode="gray">
            <a:xfrm rot="8100000">
              <a:off x="8402430" y="1602865"/>
              <a:ext cx="1503841" cy="1503844"/>
            </a:xfrm>
            <a:prstGeom prst="teardrop">
              <a:avLst/>
            </a:prstGeom>
            <a:solidFill>
              <a:schemeClr val="accent6">
                <a:lumMod val="40000"/>
                <a:lumOff val="60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a:solidFill>
                  <a:srgbClr val="FFFFFF"/>
                </a:solidFill>
                <a:latin typeface="Verdana"/>
              </a:endParaRPr>
            </a:p>
          </p:txBody>
        </p:sp>
        <p:sp>
          <p:nvSpPr>
            <p:cNvPr id="142" name="Freeform 39">
              <a:extLst>
                <a:ext uri="{FF2B5EF4-FFF2-40B4-BE49-F238E27FC236}">
                  <a16:creationId xmlns:a16="http://schemas.microsoft.com/office/drawing/2014/main" id="{4BC9A539-3667-4BFE-9E4F-81FA02EFA619}"/>
                </a:ext>
              </a:extLst>
            </p:cNvPr>
            <p:cNvSpPr/>
            <p:nvPr/>
          </p:nvSpPr>
          <p:spPr bwMode="gray">
            <a:xfrm>
              <a:off x="8355090"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lumMod val="40000"/>
                <a:lumOff val="60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nvGrpSpPr>
            <p:cNvPr id="143" name="Group 925">
              <a:extLst>
                <a:ext uri="{FF2B5EF4-FFF2-40B4-BE49-F238E27FC236}">
                  <a16:creationId xmlns:a16="http://schemas.microsoft.com/office/drawing/2014/main" id="{E0D16D89-D72D-4F33-88DE-F94293011149}"/>
                </a:ext>
              </a:extLst>
            </p:cNvPr>
            <p:cNvGrpSpPr>
              <a:grpSpLocks noChangeAspect="1"/>
            </p:cNvGrpSpPr>
            <p:nvPr/>
          </p:nvGrpSpPr>
          <p:grpSpPr bwMode="auto">
            <a:xfrm>
              <a:off x="8797157" y="1976744"/>
              <a:ext cx="686449" cy="682876"/>
              <a:chOff x="1224" y="3504"/>
              <a:chExt cx="192" cy="191"/>
            </a:xfrm>
            <a:solidFill>
              <a:schemeClr val="accent1"/>
            </a:solidFill>
          </p:grpSpPr>
          <p:sp>
            <p:nvSpPr>
              <p:cNvPr id="145" name="Freeform 926">
                <a:extLst>
                  <a:ext uri="{FF2B5EF4-FFF2-40B4-BE49-F238E27FC236}">
                    <a16:creationId xmlns:a16="http://schemas.microsoft.com/office/drawing/2014/main" id="{790BD73C-DE12-4489-882E-13024C46636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defRPr/>
                </a:pPr>
                <a:endParaRPr lang="en-GB">
                  <a:solidFill>
                    <a:srgbClr val="000000"/>
                  </a:solidFill>
                  <a:latin typeface="Verdana"/>
                </a:endParaRPr>
              </a:p>
            </p:txBody>
          </p:sp>
          <p:sp>
            <p:nvSpPr>
              <p:cNvPr id="146" name="Freeform 927">
                <a:extLst>
                  <a:ext uri="{FF2B5EF4-FFF2-40B4-BE49-F238E27FC236}">
                    <a16:creationId xmlns:a16="http://schemas.microsoft.com/office/drawing/2014/main" id="{15FDF464-77C7-4E79-91EF-7F13541D888A}"/>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defRPr/>
                </a:pPr>
                <a:endParaRPr lang="en-GB">
                  <a:solidFill>
                    <a:srgbClr val="000000"/>
                  </a:solidFill>
                  <a:latin typeface="Verdana"/>
                </a:endParaRPr>
              </a:p>
            </p:txBody>
          </p:sp>
        </p:grpSp>
        <p:sp>
          <p:nvSpPr>
            <p:cNvPr id="144" name="Oval 143">
              <a:extLst>
                <a:ext uri="{FF2B5EF4-FFF2-40B4-BE49-F238E27FC236}">
                  <a16:creationId xmlns:a16="http://schemas.microsoft.com/office/drawing/2014/main" id="{A05F4DB7-700C-4A2E-969D-33283C120EC9}"/>
                </a:ext>
              </a:extLst>
            </p:cNvPr>
            <p:cNvSpPr/>
            <p:nvPr/>
          </p:nvSpPr>
          <p:spPr bwMode="gray">
            <a:xfrm>
              <a:off x="8591201" y="1758652"/>
              <a:ext cx="1119070" cy="1119071"/>
            </a:xfrm>
            <a:prstGeom prst="ellipse">
              <a:avLst/>
            </a:prstGeom>
            <a:solidFill>
              <a:schemeClr val="bg1"/>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sp>
        <p:nvSpPr>
          <p:cNvPr id="148" name="Rectangle 147">
            <a:extLst>
              <a:ext uri="{FF2B5EF4-FFF2-40B4-BE49-F238E27FC236}">
                <a16:creationId xmlns:a16="http://schemas.microsoft.com/office/drawing/2014/main" id="{CA0BB8F2-9CB8-4B26-9351-D5522ADF53AB}"/>
              </a:ext>
            </a:extLst>
          </p:cNvPr>
          <p:cNvSpPr/>
          <p:nvPr/>
        </p:nvSpPr>
        <p:spPr bwMode="gray">
          <a:xfrm>
            <a:off x="1524002" y="4255216"/>
            <a:ext cx="587973" cy="58417"/>
          </a:xfrm>
          <a:prstGeom prst="rect">
            <a:avLst/>
          </a:pr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49" name="Rectangle 148">
            <a:extLst>
              <a:ext uri="{FF2B5EF4-FFF2-40B4-BE49-F238E27FC236}">
                <a16:creationId xmlns:a16="http://schemas.microsoft.com/office/drawing/2014/main" id="{81AB32D8-1E1F-4805-A285-6CDA13E7FA8B}"/>
              </a:ext>
            </a:extLst>
          </p:cNvPr>
          <p:cNvSpPr/>
          <p:nvPr/>
        </p:nvSpPr>
        <p:spPr bwMode="gray">
          <a:xfrm>
            <a:off x="10043777" y="4255217"/>
            <a:ext cx="632687" cy="58417"/>
          </a:xfrm>
          <a:prstGeom prst="rect">
            <a:avLst/>
          </a:prstGeom>
          <a:solidFill>
            <a:schemeClr val="accent6">
              <a:lumMod val="40000"/>
              <a:lumOff val="60000"/>
            </a:schemeClr>
          </a:soli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50" name="Rectangle 149">
            <a:extLst>
              <a:ext uri="{FF2B5EF4-FFF2-40B4-BE49-F238E27FC236}">
                <a16:creationId xmlns:a16="http://schemas.microsoft.com/office/drawing/2014/main" id="{37F4D018-52D1-43F5-90FA-FD3489D874A2}"/>
              </a:ext>
            </a:extLst>
          </p:cNvPr>
          <p:cNvSpPr/>
          <p:nvPr/>
        </p:nvSpPr>
        <p:spPr bwMode="gray">
          <a:xfrm>
            <a:off x="4954970" y="4255216"/>
            <a:ext cx="560568" cy="58417"/>
          </a:xfrm>
          <a:prstGeom prst="rect">
            <a:avLst/>
          </a:prstGeom>
          <a:gradFill>
            <a:gsLst>
              <a:gs pos="17000">
                <a:srgbClr val="046A38"/>
              </a:gs>
              <a:gs pos="83000">
                <a:schemeClr val="accent6"/>
              </a:gs>
            </a:gsLst>
            <a:lin ang="0" scaled="0"/>
          </a:gra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sp>
        <p:nvSpPr>
          <p:cNvPr id="151" name="Rectangle 150">
            <a:extLst>
              <a:ext uri="{FF2B5EF4-FFF2-40B4-BE49-F238E27FC236}">
                <a16:creationId xmlns:a16="http://schemas.microsoft.com/office/drawing/2014/main" id="{1B2D7A2E-05BD-40D9-B7DD-7C6514CD2561}"/>
              </a:ext>
            </a:extLst>
          </p:cNvPr>
          <p:cNvSpPr/>
          <p:nvPr/>
        </p:nvSpPr>
        <p:spPr bwMode="gray">
          <a:xfrm>
            <a:off x="6602468" y="4255216"/>
            <a:ext cx="673065" cy="58417"/>
          </a:xfrm>
          <a:prstGeom prst="rect">
            <a:avLst/>
          </a:prstGeom>
          <a:gradFill>
            <a:gsLst>
              <a:gs pos="17000">
                <a:schemeClr val="accent6"/>
              </a:gs>
              <a:gs pos="83000">
                <a:schemeClr val="accent1"/>
              </a:gs>
            </a:gsLst>
            <a:lin ang="0" scaled="0"/>
          </a:gradFill>
          <a:ln w="19050" algn="ctr">
            <a:noFill/>
            <a:miter lim="800000"/>
            <a:headEnd/>
            <a:tailEnd/>
          </a:ln>
        </p:spPr>
        <p:txBody>
          <a:bodyPr wrap="square" lIns="66675" tIns="66675" rIns="66675" bIns="66675" rtlCol="0" anchor="ctr"/>
          <a:lstStyle/>
          <a:p>
            <a:pPr algn="ctr" defTabSz="914378">
              <a:lnSpc>
                <a:spcPct val="106000"/>
              </a:lnSpc>
              <a:defRPr/>
            </a:pPr>
            <a:endParaRPr lang="en-US" sz="1200" b="1" err="1">
              <a:solidFill>
                <a:srgbClr val="FFFFFF"/>
              </a:solidFill>
              <a:latin typeface="Verdana"/>
            </a:endParaRPr>
          </a:p>
        </p:txBody>
      </p:sp>
      <p:grpSp>
        <p:nvGrpSpPr>
          <p:cNvPr id="154" name="Group 245">
            <a:extLst>
              <a:ext uri="{FF2B5EF4-FFF2-40B4-BE49-F238E27FC236}">
                <a16:creationId xmlns:a16="http://schemas.microsoft.com/office/drawing/2014/main" id="{C6FA0BEA-237C-4B7A-8EE8-2F9E03DEFA6B}"/>
              </a:ext>
            </a:extLst>
          </p:cNvPr>
          <p:cNvGrpSpPr>
            <a:grpSpLocks noChangeAspect="1"/>
          </p:cNvGrpSpPr>
          <p:nvPr/>
        </p:nvGrpSpPr>
        <p:grpSpPr bwMode="auto">
          <a:xfrm>
            <a:off x="7558185" y="3743332"/>
            <a:ext cx="530158" cy="460137"/>
            <a:chOff x="3544" y="884"/>
            <a:chExt cx="212" cy="184"/>
          </a:xfrm>
          <a:solidFill>
            <a:schemeClr val="accent1"/>
          </a:solidFill>
        </p:grpSpPr>
        <p:sp>
          <p:nvSpPr>
            <p:cNvPr id="155" name="Freeform 247">
              <a:extLst>
                <a:ext uri="{FF2B5EF4-FFF2-40B4-BE49-F238E27FC236}">
                  <a16:creationId xmlns:a16="http://schemas.microsoft.com/office/drawing/2014/main" id="{68414C74-9DA3-402A-9D0B-D79AE4BF2211}"/>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sp>
          <p:nvSpPr>
            <p:cNvPr id="156" name="Freeform 248">
              <a:extLst>
                <a:ext uri="{FF2B5EF4-FFF2-40B4-BE49-F238E27FC236}">
                  <a16:creationId xmlns:a16="http://schemas.microsoft.com/office/drawing/2014/main" id="{8D6B0C56-6DA7-4581-B8C8-22DDD9BE263F}"/>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sp>
          <p:nvSpPr>
            <p:cNvPr id="157" name="Freeform 249">
              <a:extLst>
                <a:ext uri="{FF2B5EF4-FFF2-40B4-BE49-F238E27FC236}">
                  <a16:creationId xmlns:a16="http://schemas.microsoft.com/office/drawing/2014/main" id="{988EA793-FA74-44B2-B525-1DD52D2E4BF9}"/>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sp>
          <p:nvSpPr>
            <p:cNvPr id="158" name="Freeform 250">
              <a:extLst>
                <a:ext uri="{FF2B5EF4-FFF2-40B4-BE49-F238E27FC236}">
                  <a16:creationId xmlns:a16="http://schemas.microsoft.com/office/drawing/2014/main" id="{4B5F7AC2-1B0F-4EEA-BC80-AE899365B441}"/>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grpSp>
      <p:sp>
        <p:nvSpPr>
          <p:cNvPr id="159" name="Freeform 872">
            <a:extLst>
              <a:ext uri="{FF2B5EF4-FFF2-40B4-BE49-F238E27FC236}">
                <a16:creationId xmlns:a16="http://schemas.microsoft.com/office/drawing/2014/main" id="{3A5E8132-90F6-4363-8253-88158E2CBC05}"/>
              </a:ext>
            </a:extLst>
          </p:cNvPr>
          <p:cNvSpPr>
            <a:spLocks noEditPoints="1"/>
          </p:cNvSpPr>
          <p:nvPr/>
        </p:nvSpPr>
        <p:spPr bwMode="auto">
          <a:xfrm>
            <a:off x="9273378" y="3692836"/>
            <a:ext cx="452879" cy="50702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chemeClr val="accent6">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sz="1350">
              <a:solidFill>
                <a:prstClr val="black"/>
              </a:solidFill>
              <a:latin typeface="Calibri Light"/>
            </a:endParaRPr>
          </a:p>
        </p:txBody>
      </p:sp>
      <p:sp>
        <p:nvSpPr>
          <p:cNvPr id="5" name="TextBox 4">
            <a:extLst>
              <a:ext uri="{FF2B5EF4-FFF2-40B4-BE49-F238E27FC236}">
                <a16:creationId xmlns:a16="http://schemas.microsoft.com/office/drawing/2014/main" id="{921D08C5-DDC9-DEB3-F955-EC9A696F11B5}"/>
              </a:ext>
            </a:extLst>
          </p:cNvPr>
          <p:cNvSpPr txBox="1"/>
          <p:nvPr/>
        </p:nvSpPr>
        <p:spPr>
          <a:xfrm>
            <a:off x="581075" y="1254486"/>
            <a:ext cx="10848925" cy="1352332"/>
          </a:xfrm>
          <a:prstGeom prst="rect">
            <a:avLst/>
          </a:prstGeom>
          <a:solidFill>
            <a:schemeClr val="bg1">
              <a:lumMod val="95000"/>
            </a:schemeClr>
          </a:solidFill>
          <a:ln w="12700" cap="sq" cmpd="sng" algn="ctr">
            <a:solidFill>
              <a:srgbClr val="FFFFFF">
                <a:lumMod val="85000"/>
              </a:srgbClr>
            </a:solidFill>
            <a:prstDash val="solid"/>
          </a:ln>
          <a:effectLst/>
        </p:spPr>
        <p:txBody>
          <a:bodyPr lIns="91440" tIns="182880" rIns="91440" bIns="91440" rtlCol="0" anchor="t" anchorCtr="0"/>
          <a:lstStyle>
            <a:defPPr>
              <a:defRPr lang="en-US"/>
            </a:defPPr>
            <a:lvl1pPr marR="0" lvl="0" indent="0" fontAlgn="auto">
              <a:lnSpc>
                <a:spcPct val="100000"/>
              </a:lnSpc>
              <a:spcBef>
                <a:spcPts val="1200"/>
              </a:spcBef>
              <a:spcAft>
                <a:spcPts val="0"/>
              </a:spcAft>
              <a:buClrTx/>
              <a:buSzTx/>
              <a:buFontTx/>
              <a:buNone/>
              <a:tabLst/>
              <a:defRPr kumimoji="0" sz="1400" b="0" i="0" u="none" strike="noStrike"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marL="548640" marR="0" lvl="1" indent="-228600" fontAlgn="auto">
              <a:lnSpc>
                <a:spcPct val="100000"/>
              </a:lnSpc>
              <a:spcBef>
                <a:spcPts val="0"/>
              </a:spcBef>
              <a:spcAft>
                <a:spcPts val="0"/>
              </a:spcAft>
              <a:buClrTx/>
              <a:buSzTx/>
              <a:buFont typeface="Courier New" panose="02070309020205020404" pitchFamily="49" charset="0"/>
              <a:buChar char="o"/>
              <a:tabLst/>
              <a:defRPr kumimoji="0" sz="1400" b="0" i="0" u="none" strike="noStrike"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defRPr>
            </a:lvl2pPr>
          </a:lstStyle>
          <a:p>
            <a:r>
              <a:rPr lang="en-US" sz="1600">
                <a:latin typeface="+mn-lt"/>
              </a:rPr>
              <a:t>This presentation provides an overview and insights into the FICC Access Model’s and Margin considerations as it pertains to the SEC Treasury Clearing Mandate. We will review FICC’s offerings of Sponsored Access and Agent Clearing Services, the concepts of done with and done away trading, and the margin considerations based on trading activity and access model. The target goal is to provide background and perspective to industry members and actionable next steps for organizations.</a:t>
            </a:r>
          </a:p>
        </p:txBody>
      </p:sp>
      <p:sp>
        <p:nvSpPr>
          <p:cNvPr id="7" name="TextBox 6">
            <a:extLst>
              <a:ext uri="{FF2B5EF4-FFF2-40B4-BE49-F238E27FC236}">
                <a16:creationId xmlns:a16="http://schemas.microsoft.com/office/drawing/2014/main" id="{6A382EB4-732E-D420-ED2E-99B8CEA8B070}"/>
              </a:ext>
            </a:extLst>
          </p:cNvPr>
          <p:cNvSpPr txBox="1"/>
          <p:nvPr/>
        </p:nvSpPr>
        <p:spPr>
          <a:xfrm>
            <a:off x="581075" y="3023826"/>
            <a:ext cx="6623095" cy="215444"/>
          </a:xfrm>
          <a:prstGeom prst="rect">
            <a:avLst/>
          </a:prstGeom>
          <a:noFill/>
        </p:spPr>
        <p:txBody>
          <a:bodyPr wrap="none" lIns="0" tIns="0" rIns="0" bIns="0" rtlCol="0">
            <a:spAutoFit/>
          </a:bodyPr>
          <a:lstStyle/>
          <a:p>
            <a:pPr>
              <a:spcBef>
                <a:spcPts val="600"/>
              </a:spcBef>
              <a:buSzPct val="100000"/>
            </a:pPr>
            <a:r>
              <a:rPr lang="en-US" sz="1400" b="1" u="sng">
                <a:ea typeface="Open Sans" panose="020B0606030504020204" pitchFamily="34" charset="0"/>
                <a:cs typeface="Open Sans" panose="020B0606030504020204" pitchFamily="34" charset="0"/>
              </a:rPr>
              <a:t>Over the course of a 6-workshop series the topics proposed will be broken out at follows:</a:t>
            </a:r>
          </a:p>
        </p:txBody>
      </p:sp>
      <p:sp>
        <p:nvSpPr>
          <p:cNvPr id="8" name="TextBox 7">
            <a:extLst>
              <a:ext uri="{FF2B5EF4-FFF2-40B4-BE49-F238E27FC236}">
                <a16:creationId xmlns:a16="http://schemas.microsoft.com/office/drawing/2014/main" id="{E65063B8-CE83-D57F-74B9-346D2E4F7A37}"/>
              </a:ext>
            </a:extLst>
          </p:cNvPr>
          <p:cNvSpPr txBox="1"/>
          <p:nvPr/>
        </p:nvSpPr>
        <p:spPr>
          <a:xfrm>
            <a:off x="2103158" y="4879505"/>
            <a:ext cx="1124731" cy="276999"/>
          </a:xfrm>
          <a:prstGeom prst="rect">
            <a:avLst/>
          </a:prstGeom>
          <a:noFill/>
        </p:spPr>
        <p:txBody>
          <a:bodyPr wrap="none" lIns="0" tIns="0" rIns="0" bIns="0" rtlCol="0">
            <a:spAutoFit/>
          </a:bodyPr>
          <a:lstStyle/>
          <a:p>
            <a:pPr>
              <a:spcBef>
                <a:spcPts val="600"/>
              </a:spcBef>
              <a:buSzPct val="100000"/>
            </a:pPr>
            <a:r>
              <a:rPr lang="en-US">
                <a:solidFill>
                  <a:schemeClr val="bg1">
                    <a:lumMod val="85000"/>
                  </a:schemeClr>
                </a:solidFill>
              </a:rPr>
              <a:t>Workshop 1</a:t>
            </a:r>
          </a:p>
        </p:txBody>
      </p:sp>
      <p:sp>
        <p:nvSpPr>
          <p:cNvPr id="9" name="TextBox 8">
            <a:extLst>
              <a:ext uri="{FF2B5EF4-FFF2-40B4-BE49-F238E27FC236}">
                <a16:creationId xmlns:a16="http://schemas.microsoft.com/office/drawing/2014/main" id="{75FA0F49-8C18-2D4F-DA51-AB77FA82FB31}"/>
              </a:ext>
            </a:extLst>
          </p:cNvPr>
          <p:cNvSpPr txBox="1"/>
          <p:nvPr/>
        </p:nvSpPr>
        <p:spPr>
          <a:xfrm>
            <a:off x="3804234" y="4888562"/>
            <a:ext cx="1124731" cy="276999"/>
          </a:xfrm>
          <a:prstGeom prst="rect">
            <a:avLst/>
          </a:prstGeom>
          <a:noFill/>
        </p:spPr>
        <p:txBody>
          <a:bodyPr wrap="none" lIns="0" tIns="0" rIns="0" bIns="0" rtlCol="0">
            <a:spAutoFit/>
          </a:bodyPr>
          <a:lstStyle/>
          <a:p>
            <a:pPr>
              <a:spcBef>
                <a:spcPts val="600"/>
              </a:spcBef>
              <a:buSzPct val="100000"/>
            </a:pPr>
            <a:r>
              <a:rPr lang="en-US">
                <a:solidFill>
                  <a:srgbClr val="313131"/>
                </a:solidFill>
              </a:rPr>
              <a:t>Workshop 2</a:t>
            </a:r>
          </a:p>
        </p:txBody>
      </p:sp>
      <p:sp>
        <p:nvSpPr>
          <p:cNvPr id="10" name="TextBox 9">
            <a:extLst>
              <a:ext uri="{FF2B5EF4-FFF2-40B4-BE49-F238E27FC236}">
                <a16:creationId xmlns:a16="http://schemas.microsoft.com/office/drawing/2014/main" id="{E85A0616-ADF3-3F88-7840-CD694B1EC175}"/>
              </a:ext>
            </a:extLst>
          </p:cNvPr>
          <p:cNvSpPr txBox="1"/>
          <p:nvPr/>
        </p:nvSpPr>
        <p:spPr>
          <a:xfrm>
            <a:off x="5533634" y="4888562"/>
            <a:ext cx="1124731" cy="276999"/>
          </a:xfrm>
          <a:prstGeom prst="rect">
            <a:avLst/>
          </a:prstGeom>
          <a:noFill/>
        </p:spPr>
        <p:txBody>
          <a:bodyPr wrap="none" lIns="0" tIns="0" rIns="0" bIns="0" rtlCol="0">
            <a:spAutoFit/>
          </a:bodyPr>
          <a:lstStyle/>
          <a:p>
            <a:pPr>
              <a:spcBef>
                <a:spcPts val="600"/>
              </a:spcBef>
              <a:buSzPct val="100000"/>
            </a:pPr>
            <a:r>
              <a:rPr lang="en-US">
                <a:solidFill>
                  <a:srgbClr val="313131"/>
                </a:solidFill>
              </a:rPr>
              <a:t>Workshop 3</a:t>
            </a:r>
          </a:p>
        </p:txBody>
      </p:sp>
      <p:sp>
        <p:nvSpPr>
          <p:cNvPr id="11" name="TextBox 10">
            <a:extLst>
              <a:ext uri="{FF2B5EF4-FFF2-40B4-BE49-F238E27FC236}">
                <a16:creationId xmlns:a16="http://schemas.microsoft.com/office/drawing/2014/main" id="{C6729302-EFDF-71CB-901E-F0C5C73328AE}"/>
              </a:ext>
            </a:extLst>
          </p:cNvPr>
          <p:cNvSpPr txBox="1"/>
          <p:nvPr/>
        </p:nvSpPr>
        <p:spPr>
          <a:xfrm>
            <a:off x="7304288" y="4879504"/>
            <a:ext cx="1124731" cy="276999"/>
          </a:xfrm>
          <a:prstGeom prst="rect">
            <a:avLst/>
          </a:prstGeom>
          <a:noFill/>
        </p:spPr>
        <p:txBody>
          <a:bodyPr wrap="none" lIns="0" tIns="0" rIns="0" bIns="0" rtlCol="0">
            <a:spAutoFit/>
          </a:bodyPr>
          <a:lstStyle/>
          <a:p>
            <a:pPr>
              <a:spcBef>
                <a:spcPts val="600"/>
              </a:spcBef>
              <a:buSzPct val="100000"/>
            </a:pPr>
            <a:r>
              <a:rPr lang="en-US">
                <a:solidFill>
                  <a:srgbClr val="313131"/>
                </a:solidFill>
              </a:rPr>
              <a:t>Workshop 4</a:t>
            </a:r>
          </a:p>
        </p:txBody>
      </p:sp>
      <p:sp>
        <p:nvSpPr>
          <p:cNvPr id="12" name="TextBox 11">
            <a:extLst>
              <a:ext uri="{FF2B5EF4-FFF2-40B4-BE49-F238E27FC236}">
                <a16:creationId xmlns:a16="http://schemas.microsoft.com/office/drawing/2014/main" id="{216EE37E-E762-779D-1EB8-4C72702A79A0}"/>
              </a:ext>
            </a:extLst>
          </p:cNvPr>
          <p:cNvSpPr txBox="1"/>
          <p:nvPr/>
        </p:nvSpPr>
        <p:spPr>
          <a:xfrm>
            <a:off x="8729638" y="4887245"/>
            <a:ext cx="1540358" cy="276999"/>
          </a:xfrm>
          <a:prstGeom prst="rect">
            <a:avLst/>
          </a:prstGeom>
          <a:noFill/>
        </p:spPr>
        <p:txBody>
          <a:bodyPr wrap="none" lIns="0" tIns="0" rIns="0" bIns="0" rtlCol="0">
            <a:spAutoFit/>
          </a:bodyPr>
          <a:lstStyle/>
          <a:p>
            <a:pPr>
              <a:spcBef>
                <a:spcPts val="600"/>
              </a:spcBef>
              <a:buSzPct val="100000"/>
            </a:pPr>
            <a:r>
              <a:rPr lang="en-US">
                <a:solidFill>
                  <a:srgbClr val="313131"/>
                </a:solidFill>
              </a:rPr>
              <a:t>Workshops 5 &amp;6</a:t>
            </a:r>
          </a:p>
        </p:txBody>
      </p:sp>
      <p:pic>
        <p:nvPicPr>
          <p:cNvPr id="17" name="Graphic 16" descr="Scales of justice with solid fill">
            <a:extLst>
              <a:ext uri="{FF2B5EF4-FFF2-40B4-BE49-F238E27FC236}">
                <a16:creationId xmlns:a16="http://schemas.microsoft.com/office/drawing/2014/main" id="{C59D934A-626B-8D29-4BB2-A221A51669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26576" y="3621972"/>
            <a:ext cx="633244" cy="633244"/>
          </a:xfrm>
          <a:prstGeom prst="rect">
            <a:avLst/>
          </a:prstGeom>
        </p:spPr>
      </p:pic>
      <p:pic>
        <p:nvPicPr>
          <p:cNvPr id="19" name="Graphic 18" descr="Research with solid fill">
            <a:extLst>
              <a:ext uri="{FF2B5EF4-FFF2-40B4-BE49-F238E27FC236}">
                <a16:creationId xmlns:a16="http://schemas.microsoft.com/office/drawing/2014/main" id="{3312B9CB-868A-C91B-AD5C-CADCDC2CC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52122" y="3592145"/>
            <a:ext cx="708407" cy="708407"/>
          </a:xfrm>
          <a:prstGeom prst="rect">
            <a:avLst/>
          </a:prstGeom>
        </p:spPr>
      </p:pic>
      <p:pic>
        <p:nvPicPr>
          <p:cNvPr id="21" name="Graphic 20" descr="Pencil with solid fill">
            <a:extLst>
              <a:ext uri="{FF2B5EF4-FFF2-40B4-BE49-F238E27FC236}">
                <a16:creationId xmlns:a16="http://schemas.microsoft.com/office/drawing/2014/main" id="{8949F45E-0FF5-4AAF-5C03-9D211937DC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57926" y="3621972"/>
            <a:ext cx="612592" cy="612592"/>
          </a:xfrm>
          <a:prstGeom prst="rect">
            <a:avLst/>
          </a:prstGeom>
        </p:spPr>
      </p:pic>
    </p:spTree>
    <p:extLst>
      <p:ext uri="{BB962C8B-B14F-4D97-AF65-F5344CB8AC3E}">
        <p14:creationId xmlns:p14="http://schemas.microsoft.com/office/powerpoint/2010/main" val="27394631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2C0ACD-0D98-4DE6-9146-54BD5195D6AF}"/>
              </a:ext>
            </a:extLst>
          </p:cNvPr>
          <p:cNvSpPr>
            <a:spLocks noGrp="1"/>
          </p:cNvSpPr>
          <p:nvPr>
            <p:ph type="title"/>
          </p:nvPr>
        </p:nvSpPr>
        <p:spPr/>
        <p:txBody>
          <a:bodyPr/>
          <a:lstStyle/>
          <a:p>
            <a:r>
              <a:rPr lang="en-US" sz="2400" b="1"/>
              <a:t>Tracking Industry Open Questions: SEC FAQ List</a:t>
            </a:r>
            <a:endParaRPr lang="en-US" sz="2400"/>
          </a:p>
        </p:txBody>
      </p:sp>
      <p:sp>
        <p:nvSpPr>
          <p:cNvPr id="38" name="Text Placeholder 32">
            <a:extLst>
              <a:ext uri="{FF2B5EF4-FFF2-40B4-BE49-F238E27FC236}">
                <a16:creationId xmlns:a16="http://schemas.microsoft.com/office/drawing/2014/main" id="{45A456E4-4B0C-BDE4-8BF6-80E26DD761FB}"/>
              </a:ext>
            </a:extLst>
          </p:cNvPr>
          <p:cNvSpPr txBox="1">
            <a:spLocks/>
          </p:cNvSpPr>
          <p:nvPr/>
        </p:nvSpPr>
        <p:spPr>
          <a:xfrm>
            <a:off x="450000" y="684000"/>
            <a:ext cx="11304000" cy="757255"/>
          </a:xfrm>
          <a:prstGeom prst="rect">
            <a:avLst/>
          </a:prstGeom>
        </p:spPr>
        <p:txBody>
          <a:bodyPr lIns="0" tIns="0" rIns="0" bIns="0"/>
          <a:lst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600">
                <a:latin typeface="Calibri Light" panose="020F0302020204030204" pitchFamily="34" charset="0"/>
                <a:ea typeface="Calibri Light" panose="020F0302020204030204" pitchFamily="34" charset="0"/>
              </a:rPr>
              <a:t>The SEC and industry groups have been active in keeping industry members apprised of updates and important information regarding the Treasury Clearing Mandate. The below topics and open questions have been tracked  and continue to be addressed, with commentary and responses published periodically by the SEC. </a:t>
            </a:r>
          </a:p>
        </p:txBody>
      </p:sp>
      <p:graphicFrame>
        <p:nvGraphicFramePr>
          <p:cNvPr id="2" name="Table 1">
            <a:extLst>
              <a:ext uri="{FF2B5EF4-FFF2-40B4-BE49-F238E27FC236}">
                <a16:creationId xmlns:a16="http://schemas.microsoft.com/office/drawing/2014/main" id="{243E2FF1-E2C8-5A4F-98BD-C81E137D579C}"/>
              </a:ext>
            </a:extLst>
          </p:cNvPr>
          <p:cNvGraphicFramePr>
            <a:graphicFrameLocks noGrp="1"/>
          </p:cNvGraphicFramePr>
          <p:nvPr>
            <p:extLst>
              <p:ext uri="{D42A27DB-BD31-4B8C-83A1-F6EECF244321}">
                <p14:modId xmlns:p14="http://schemas.microsoft.com/office/powerpoint/2010/main" val="3380819949"/>
              </p:ext>
            </p:extLst>
          </p:nvPr>
        </p:nvGraphicFramePr>
        <p:xfrm>
          <a:off x="450000" y="1481967"/>
          <a:ext cx="11429085" cy="5125720"/>
        </p:xfrm>
        <a:graphic>
          <a:graphicData uri="http://schemas.openxmlformats.org/drawingml/2006/table">
            <a:tbl>
              <a:tblPr firstRow="1" bandRow="1">
                <a:tableStyleId>{93296810-A885-4BE3-A3E7-6D5BEEA58F35}</a:tableStyleId>
              </a:tblPr>
              <a:tblGrid>
                <a:gridCol w="365760">
                  <a:extLst>
                    <a:ext uri="{9D8B030D-6E8A-4147-A177-3AD203B41FA5}">
                      <a16:colId xmlns:a16="http://schemas.microsoft.com/office/drawing/2014/main" val="2640214090"/>
                    </a:ext>
                  </a:extLst>
                </a:gridCol>
                <a:gridCol w="2749546">
                  <a:extLst>
                    <a:ext uri="{9D8B030D-6E8A-4147-A177-3AD203B41FA5}">
                      <a16:colId xmlns:a16="http://schemas.microsoft.com/office/drawing/2014/main" val="976808302"/>
                    </a:ext>
                  </a:extLst>
                </a:gridCol>
                <a:gridCol w="5173024">
                  <a:extLst>
                    <a:ext uri="{9D8B030D-6E8A-4147-A177-3AD203B41FA5}">
                      <a16:colId xmlns:a16="http://schemas.microsoft.com/office/drawing/2014/main" val="3265866798"/>
                    </a:ext>
                  </a:extLst>
                </a:gridCol>
                <a:gridCol w="1586275">
                  <a:extLst>
                    <a:ext uri="{9D8B030D-6E8A-4147-A177-3AD203B41FA5}">
                      <a16:colId xmlns:a16="http://schemas.microsoft.com/office/drawing/2014/main" val="3126071572"/>
                    </a:ext>
                  </a:extLst>
                </a:gridCol>
                <a:gridCol w="1554480">
                  <a:extLst>
                    <a:ext uri="{9D8B030D-6E8A-4147-A177-3AD203B41FA5}">
                      <a16:colId xmlns:a16="http://schemas.microsoft.com/office/drawing/2014/main" val="3128555037"/>
                    </a:ext>
                  </a:extLst>
                </a:gridCol>
              </a:tblGrid>
              <a:tr h="370840">
                <a:tc>
                  <a:txBody>
                    <a:bodyPr/>
                    <a:lstStyle/>
                    <a:p>
                      <a:pPr algn="ctr"/>
                      <a:r>
                        <a:rPr lang="en-US"/>
                        <a:t>#</a:t>
                      </a:r>
                    </a:p>
                  </a:txBody>
                  <a:tcPr>
                    <a:lnB w="12700" cap="flat" cmpd="sng" algn="ctr">
                      <a:solidFill>
                        <a:schemeClr val="bg1"/>
                      </a:solidFill>
                      <a:prstDash val="solid"/>
                      <a:round/>
                      <a:headEnd type="none" w="med" len="med"/>
                      <a:tailEnd type="none" w="med" len="med"/>
                    </a:lnB>
                  </a:tcPr>
                </a:tc>
                <a:tc>
                  <a:txBody>
                    <a:bodyPr/>
                    <a:lstStyle/>
                    <a:p>
                      <a:pPr algn="ctr"/>
                      <a:r>
                        <a:rPr lang="en-US"/>
                        <a:t>Topic</a:t>
                      </a:r>
                    </a:p>
                  </a:txBody>
                  <a:tcPr>
                    <a:lnB w="12700" cap="flat" cmpd="sng" algn="ctr">
                      <a:solidFill>
                        <a:schemeClr val="bg1"/>
                      </a:solidFill>
                      <a:prstDash val="solid"/>
                      <a:round/>
                      <a:headEnd type="none" w="med" len="med"/>
                      <a:tailEnd type="none" w="med" len="med"/>
                    </a:lnB>
                  </a:tcPr>
                </a:tc>
                <a:tc>
                  <a:txBody>
                    <a:bodyPr/>
                    <a:lstStyle/>
                    <a:p>
                      <a:pPr algn="ctr"/>
                      <a:r>
                        <a:rPr lang="en-US"/>
                        <a:t>Summary</a:t>
                      </a:r>
                    </a:p>
                  </a:txBody>
                  <a:tcPr>
                    <a:lnB w="12700" cap="flat" cmpd="sng" algn="ctr">
                      <a:solidFill>
                        <a:schemeClr val="bg1"/>
                      </a:solidFill>
                      <a:prstDash val="solid"/>
                      <a:round/>
                      <a:headEnd type="none" w="med" len="med"/>
                      <a:tailEnd type="none" w="med" len="med"/>
                    </a:lnB>
                  </a:tcPr>
                </a:tc>
                <a:tc>
                  <a:txBody>
                    <a:bodyPr/>
                    <a:lstStyle/>
                    <a:p>
                      <a:pPr algn="ctr"/>
                      <a:r>
                        <a:rPr lang="en-US"/>
                        <a:t>Status</a:t>
                      </a:r>
                    </a:p>
                  </a:txBody>
                  <a:tcPr>
                    <a:lnB w="12700" cap="flat" cmpd="sng" algn="ctr">
                      <a:solidFill>
                        <a:schemeClr val="bg1"/>
                      </a:solidFill>
                      <a:prstDash val="solid"/>
                      <a:round/>
                      <a:headEnd type="none" w="med" len="med"/>
                      <a:tailEnd type="none" w="med" len="med"/>
                    </a:lnB>
                  </a:tcPr>
                </a:tc>
                <a:tc>
                  <a:txBody>
                    <a:bodyPr/>
                    <a:lstStyle/>
                    <a:p>
                      <a:pPr algn="ctr"/>
                      <a:r>
                        <a:rPr lang="en-US"/>
                        <a:t>ICI Member Impact</a:t>
                      </a:r>
                    </a:p>
                  </a:txBody>
                  <a:tcP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88823551"/>
                  </a:ext>
                </a:extLst>
              </a:tr>
              <a:tr h="370840">
                <a:tc>
                  <a:txBody>
                    <a:bodyPr/>
                    <a:lstStyle/>
                    <a:p>
                      <a:r>
                        <a:rPr lang="en-US" sz="1200" b="1"/>
                        <a:t>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Treasury Clearing and Rule 15c3-3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i="1"/>
                        <a:t>Financial responsibility and application of the Reserve Formula with respect to cleared US Treasury Securiti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a:t>SEC issued answers to FAQs 08/06</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LOW</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93910174"/>
                  </a:ext>
                </a:extLst>
              </a:tr>
              <a:tr h="370840">
                <a:tc>
                  <a:txBody>
                    <a:bodyPr/>
                    <a:lstStyle/>
                    <a:p>
                      <a:r>
                        <a:rPr lang="en-US" sz="1200" b="1"/>
                        <a:t>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Accounting Treatment for FICC’s ACS Mode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i="1"/>
                        <a:t>Accounting treatment for repo transactions cleared through the FICC via the Agency Clearing Servi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a:t>SIFMA letter with SEC guidance 09/1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LOW</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16139852"/>
                  </a:ext>
                </a:extLst>
              </a:tr>
              <a:tr h="370840">
                <a:tc>
                  <a:txBody>
                    <a:bodyPr/>
                    <a:lstStyle/>
                    <a:p>
                      <a:r>
                        <a:rPr lang="en-US" sz="1200" b="1"/>
                        <a:t>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Mixed CUSIP Triparty Rep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i="1">
                          <a:solidFill>
                            <a:prstClr val="black"/>
                          </a:solidFill>
                        </a:rPr>
                        <a:t>The SEC has clarified which tri-party baskets must be centrally cleared: only baskets specifically intended to finance U.S. Treasuries fall under the rule require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a:t>SEC issued answers to FAQs in 09/3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a:t>ME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73440566"/>
                  </a:ext>
                </a:extLst>
              </a:tr>
              <a:tr h="370840">
                <a:tc>
                  <a:txBody>
                    <a:bodyPr/>
                    <a:lstStyle/>
                    <a:p>
                      <a:r>
                        <a:rPr lang="en-US" sz="1200" b="1"/>
                        <a:t>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Interaffiliate Exemption for Cash Transaction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0" i="1" kern="1200">
                          <a:solidFill>
                            <a:schemeClr val="dk1"/>
                          </a:solidFill>
                          <a:effectLst/>
                          <a:latin typeface="+mn-lt"/>
                          <a:ea typeface="+mn-ea"/>
                          <a:cs typeface="+mn-cs"/>
                        </a:rPr>
                        <a:t>Expanding the interaffiliate exemption to include cash transactions and to allow for internal liquidity and collateral management</a:t>
                      </a:r>
                      <a:endParaRPr lang="en-US" sz="1200" i="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a:t>Op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LOW</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32150150"/>
                  </a:ext>
                </a:extLst>
              </a:tr>
              <a:tr h="370840">
                <a:tc>
                  <a:txBody>
                    <a:bodyPr/>
                    <a:lstStyle/>
                    <a:p>
                      <a:r>
                        <a:rPr lang="en-US" sz="1200" b="1"/>
                        <a:t>5</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Broadening Interaffiliate exemp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0" i="1" kern="1200">
                          <a:solidFill>
                            <a:schemeClr val="dk1"/>
                          </a:solidFill>
                          <a:effectLst/>
                          <a:latin typeface="+mn-lt"/>
                          <a:ea typeface="+mn-ea"/>
                          <a:cs typeface="+mn-cs"/>
                        </a:rPr>
                        <a:t>Including additional types of affiliates and broadening the concept of affiliate within the interaffiliate exemption</a:t>
                      </a:r>
                      <a:endParaRPr lang="en-US" sz="1200" i="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a:t>Op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LOW</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66917667"/>
                  </a:ext>
                </a:extLst>
              </a:tr>
              <a:tr h="370840">
                <a:tc>
                  <a:txBody>
                    <a:bodyPr/>
                    <a:lstStyle/>
                    <a:p>
                      <a:r>
                        <a:rPr lang="en-US" sz="1200" b="1"/>
                        <a:t>6</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Extraterritoriality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0" i="1" kern="1200">
                          <a:solidFill>
                            <a:schemeClr val="dk1"/>
                          </a:solidFill>
                          <a:effectLst/>
                          <a:latin typeface="+mn-lt"/>
                          <a:ea typeface="+mn-ea"/>
                          <a:cs typeface="+mn-cs"/>
                        </a:rPr>
                        <a:t>Clarifying the extraterritorial scope of the Treasury Clearing rule, particularly as it relates to foreign Branches of Member banks</a:t>
                      </a:r>
                      <a:endParaRPr lang="en-US" sz="1200" i="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a:t>Op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ME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61137312"/>
                  </a:ext>
                </a:extLst>
              </a:tr>
              <a:tr h="370840">
                <a:tc>
                  <a:txBody>
                    <a:bodyPr/>
                    <a:lstStyle/>
                    <a:p>
                      <a:r>
                        <a:rPr lang="en-US" sz="1200" b="1"/>
                        <a:t>7</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a:t>Double Margi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0" i="1" kern="1200">
                          <a:solidFill>
                            <a:schemeClr val="dk1"/>
                          </a:solidFill>
                          <a:effectLst/>
                          <a:latin typeface="+mn-lt"/>
                          <a:ea typeface="+mn-ea"/>
                          <a:cs typeface="+mn-cs"/>
                        </a:rPr>
                        <a:t>Addressing “double margining” issues for registered funds regarding cleared repos</a:t>
                      </a:r>
                      <a:endParaRPr lang="en-US" sz="1200" i="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t>Op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t>HIG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2965610"/>
                  </a:ext>
                </a:extLst>
              </a:tr>
              <a:tr h="370840">
                <a:tc>
                  <a:txBody>
                    <a:bodyPr/>
                    <a:lstStyle/>
                    <a:p>
                      <a:r>
                        <a:rPr lang="en-US" sz="1200" b="1"/>
                        <a:t>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a:t>Cross-margi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0" i="1" kern="1200">
                          <a:solidFill>
                            <a:schemeClr val="dk1"/>
                          </a:solidFill>
                          <a:effectLst/>
                          <a:latin typeface="+mn-lt"/>
                          <a:ea typeface="+mn-ea"/>
                          <a:cs typeface="+mn-cs"/>
                        </a:rPr>
                        <a:t>Facilitating cross-margining between FICC securities and CME futures transactions at the customer level</a:t>
                      </a:r>
                      <a:endParaRPr lang="en-US" sz="1200" i="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t>Op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t>HIG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4627569"/>
                  </a:ext>
                </a:extLst>
              </a:tr>
              <a:tr h="370840">
                <a:tc>
                  <a:txBody>
                    <a:bodyPr/>
                    <a:lstStyle/>
                    <a:p>
                      <a:r>
                        <a:rPr lang="en-US" sz="1200" b="1"/>
                        <a:t>9</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a:t>Clearing Agency Outag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0" i="1" kern="1200">
                          <a:solidFill>
                            <a:schemeClr val="dk1"/>
                          </a:solidFill>
                          <a:effectLst/>
                          <a:latin typeface="+mn-lt"/>
                          <a:ea typeface="+mn-ea"/>
                          <a:cs typeface="+mn-cs"/>
                        </a:rPr>
                        <a:t>Providing guidance on the impact of failed trades or clearing agency outages on the Treasury Clearing rule</a:t>
                      </a:r>
                      <a:endParaRPr lang="en-US" sz="1200" i="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t>Op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t>ME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65052559"/>
                  </a:ext>
                </a:extLst>
              </a:tr>
              <a:tr h="370840">
                <a:tc>
                  <a:txBody>
                    <a:bodyPr/>
                    <a:lstStyle/>
                    <a:p>
                      <a:r>
                        <a:rPr lang="en-US" sz="1200" b="1"/>
                        <a:t>1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a:t>Gross vs. Net Marg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0" i="1" kern="1200">
                          <a:solidFill>
                            <a:schemeClr val="dk1"/>
                          </a:solidFill>
                          <a:effectLst/>
                          <a:latin typeface="+mn-lt"/>
                          <a:ea typeface="+mn-ea"/>
                          <a:cs typeface="+mn-cs"/>
                        </a:rPr>
                        <a:t>Assessing gross vs. net margin alternatives for segregated customer accounts under Exchange Act Rule 15c3-3a</a:t>
                      </a:r>
                      <a:endParaRPr lang="en-US" sz="1200" i="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t>Op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t>HIG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0322599"/>
                  </a:ext>
                </a:extLst>
              </a:tr>
            </a:tbl>
          </a:graphicData>
        </a:graphic>
      </p:graphicFrame>
    </p:spTree>
    <p:extLst>
      <p:ext uri="{BB962C8B-B14F-4D97-AF65-F5344CB8AC3E}">
        <p14:creationId xmlns:p14="http://schemas.microsoft.com/office/powerpoint/2010/main" val="33596198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904163-63C5-E118-4B1E-E7A8182B748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8421B59-3A9B-E86E-E98D-77F1EE6E69BE}"/>
              </a:ext>
            </a:extLst>
          </p:cNvPr>
          <p:cNvSpPr>
            <a:spLocks noGrp="1"/>
          </p:cNvSpPr>
          <p:nvPr>
            <p:ph type="title"/>
          </p:nvPr>
        </p:nvSpPr>
        <p:spPr/>
        <p:txBody>
          <a:bodyPr/>
          <a:lstStyle/>
          <a:p>
            <a:r>
              <a:rPr lang="en-US" sz="2400" b="1"/>
              <a:t>Tracking Industry Open Questions: Additional Threads</a:t>
            </a:r>
            <a:endParaRPr lang="en-US" sz="2400"/>
          </a:p>
        </p:txBody>
      </p:sp>
      <p:sp>
        <p:nvSpPr>
          <p:cNvPr id="38" name="Text Placeholder 32">
            <a:extLst>
              <a:ext uri="{FF2B5EF4-FFF2-40B4-BE49-F238E27FC236}">
                <a16:creationId xmlns:a16="http://schemas.microsoft.com/office/drawing/2014/main" id="{D9E449D0-D435-BF2E-A44F-3426DFE87BCB}"/>
              </a:ext>
            </a:extLst>
          </p:cNvPr>
          <p:cNvSpPr txBox="1">
            <a:spLocks/>
          </p:cNvSpPr>
          <p:nvPr/>
        </p:nvSpPr>
        <p:spPr>
          <a:xfrm>
            <a:off x="450000" y="684000"/>
            <a:ext cx="11304000" cy="757255"/>
          </a:xfrm>
          <a:prstGeom prst="rect">
            <a:avLst/>
          </a:prstGeom>
        </p:spPr>
        <p:txBody>
          <a:bodyPr lIns="0" tIns="0" rIns="0" bIns="0"/>
          <a:lst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600">
                <a:solidFill>
                  <a:srgbClr val="000000"/>
                </a:solidFill>
                <a:latin typeface="Calibri Light" panose="020F0302020204030204" pitchFamily="34" charset="0"/>
                <a:ea typeface="Calibri Light" panose="020F0302020204030204" pitchFamily="34" charset="0"/>
              </a:rPr>
              <a:t>Additional items such as new service offerings from FICC and applications from other CCA’s looking to enter the market have been filed with the SEC.</a:t>
            </a:r>
          </a:p>
        </p:txBody>
      </p:sp>
      <p:graphicFrame>
        <p:nvGraphicFramePr>
          <p:cNvPr id="5" name="Table 4">
            <a:extLst>
              <a:ext uri="{FF2B5EF4-FFF2-40B4-BE49-F238E27FC236}">
                <a16:creationId xmlns:a16="http://schemas.microsoft.com/office/drawing/2014/main" id="{18306976-431F-764B-70B2-F93DD3ADCB12}"/>
              </a:ext>
            </a:extLst>
          </p:cNvPr>
          <p:cNvGraphicFramePr>
            <a:graphicFrameLocks noGrp="1"/>
          </p:cNvGraphicFramePr>
          <p:nvPr>
            <p:extLst>
              <p:ext uri="{D42A27DB-BD31-4B8C-83A1-F6EECF244321}">
                <p14:modId xmlns:p14="http://schemas.microsoft.com/office/powerpoint/2010/main" val="1962526265"/>
              </p:ext>
            </p:extLst>
          </p:nvPr>
        </p:nvGraphicFramePr>
        <p:xfrm>
          <a:off x="450000" y="1664208"/>
          <a:ext cx="11429085" cy="3479800"/>
        </p:xfrm>
        <a:graphic>
          <a:graphicData uri="http://schemas.openxmlformats.org/drawingml/2006/table">
            <a:tbl>
              <a:tblPr firstRow="1" bandRow="1">
                <a:tableStyleId>{93296810-A885-4BE3-A3E7-6D5BEEA58F35}</a:tableStyleId>
              </a:tblPr>
              <a:tblGrid>
                <a:gridCol w="365760">
                  <a:extLst>
                    <a:ext uri="{9D8B030D-6E8A-4147-A177-3AD203B41FA5}">
                      <a16:colId xmlns:a16="http://schemas.microsoft.com/office/drawing/2014/main" val="2640214090"/>
                    </a:ext>
                  </a:extLst>
                </a:gridCol>
                <a:gridCol w="2749546">
                  <a:extLst>
                    <a:ext uri="{9D8B030D-6E8A-4147-A177-3AD203B41FA5}">
                      <a16:colId xmlns:a16="http://schemas.microsoft.com/office/drawing/2014/main" val="976808302"/>
                    </a:ext>
                  </a:extLst>
                </a:gridCol>
                <a:gridCol w="5173024">
                  <a:extLst>
                    <a:ext uri="{9D8B030D-6E8A-4147-A177-3AD203B41FA5}">
                      <a16:colId xmlns:a16="http://schemas.microsoft.com/office/drawing/2014/main" val="3265866798"/>
                    </a:ext>
                  </a:extLst>
                </a:gridCol>
                <a:gridCol w="1586275">
                  <a:extLst>
                    <a:ext uri="{9D8B030D-6E8A-4147-A177-3AD203B41FA5}">
                      <a16:colId xmlns:a16="http://schemas.microsoft.com/office/drawing/2014/main" val="3126071572"/>
                    </a:ext>
                  </a:extLst>
                </a:gridCol>
                <a:gridCol w="1554480">
                  <a:extLst>
                    <a:ext uri="{9D8B030D-6E8A-4147-A177-3AD203B41FA5}">
                      <a16:colId xmlns:a16="http://schemas.microsoft.com/office/drawing/2014/main" val="3128555037"/>
                    </a:ext>
                  </a:extLst>
                </a:gridCol>
              </a:tblGrid>
              <a:tr h="370840">
                <a:tc>
                  <a:txBody>
                    <a:bodyPr/>
                    <a:lstStyle/>
                    <a:p>
                      <a:pPr algn="ctr"/>
                      <a:r>
                        <a:rPr lang="en-US"/>
                        <a:t>#</a:t>
                      </a:r>
                    </a:p>
                  </a:txBody>
                  <a:tcPr>
                    <a:lnB w="12700" cap="flat" cmpd="sng" algn="ctr">
                      <a:solidFill>
                        <a:schemeClr val="bg1"/>
                      </a:solidFill>
                      <a:prstDash val="solid"/>
                      <a:round/>
                      <a:headEnd type="none" w="med" len="med"/>
                      <a:tailEnd type="none" w="med" len="med"/>
                    </a:lnB>
                  </a:tcPr>
                </a:tc>
                <a:tc>
                  <a:txBody>
                    <a:bodyPr/>
                    <a:lstStyle/>
                    <a:p>
                      <a:pPr algn="ctr"/>
                      <a:r>
                        <a:rPr lang="en-US"/>
                        <a:t>Topic</a:t>
                      </a:r>
                    </a:p>
                  </a:txBody>
                  <a:tcPr>
                    <a:lnB w="12700" cap="flat" cmpd="sng" algn="ctr">
                      <a:solidFill>
                        <a:schemeClr val="bg1"/>
                      </a:solidFill>
                      <a:prstDash val="solid"/>
                      <a:round/>
                      <a:headEnd type="none" w="med" len="med"/>
                      <a:tailEnd type="none" w="med" len="med"/>
                    </a:lnB>
                  </a:tcPr>
                </a:tc>
                <a:tc>
                  <a:txBody>
                    <a:bodyPr/>
                    <a:lstStyle/>
                    <a:p>
                      <a:pPr algn="ctr"/>
                      <a:r>
                        <a:rPr lang="en-US"/>
                        <a:t>Summary</a:t>
                      </a:r>
                    </a:p>
                  </a:txBody>
                  <a:tcPr>
                    <a:lnB w="12700" cap="flat" cmpd="sng" algn="ctr">
                      <a:solidFill>
                        <a:schemeClr val="bg1"/>
                      </a:solidFill>
                      <a:prstDash val="solid"/>
                      <a:round/>
                      <a:headEnd type="none" w="med" len="med"/>
                      <a:tailEnd type="none" w="med" len="med"/>
                    </a:lnB>
                  </a:tcPr>
                </a:tc>
                <a:tc>
                  <a:txBody>
                    <a:bodyPr/>
                    <a:lstStyle/>
                    <a:p>
                      <a:pPr algn="ctr"/>
                      <a:r>
                        <a:rPr lang="en-US"/>
                        <a:t>Status</a:t>
                      </a:r>
                    </a:p>
                  </a:txBody>
                  <a:tcPr>
                    <a:lnB w="12700" cap="flat" cmpd="sng" algn="ctr">
                      <a:solidFill>
                        <a:schemeClr val="bg1"/>
                      </a:solidFill>
                      <a:prstDash val="solid"/>
                      <a:round/>
                      <a:headEnd type="none" w="med" len="med"/>
                      <a:tailEnd type="none" w="med" len="med"/>
                    </a:lnB>
                  </a:tcPr>
                </a:tc>
                <a:tc>
                  <a:txBody>
                    <a:bodyPr/>
                    <a:lstStyle/>
                    <a:p>
                      <a:pPr algn="ctr"/>
                      <a:r>
                        <a:rPr lang="en-US"/>
                        <a:t>ICI Member Impact</a:t>
                      </a:r>
                    </a:p>
                  </a:txBody>
                  <a:tcP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88823551"/>
                  </a:ext>
                </a:extLst>
              </a:tr>
              <a:tr h="370840">
                <a:tc>
                  <a:txBody>
                    <a:bodyPr/>
                    <a:lstStyle/>
                    <a:p>
                      <a:r>
                        <a:rPr lang="en-US" sz="1200" b="1"/>
                        <a:t>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ACS Triparty Servi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i="1"/>
                        <a:t>FICC’s proposed rule to provide a new service offering called the ACS Triparty Servi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a:t>Proposed to SEC</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ME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93910174"/>
                  </a:ext>
                </a:extLst>
              </a:tr>
              <a:tr h="370840">
                <a:tc>
                  <a:txBody>
                    <a:bodyPr/>
                    <a:lstStyle/>
                    <a:p>
                      <a:r>
                        <a:rPr lang="en-US" sz="1200" b="1"/>
                        <a:t>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Collateral-in-Lieu Offer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i="1"/>
                        <a:t>FICC’s proposed rule to establish a new collateral-in-lieu offering within Sponsored GC services to allow for Done-Away trade submiss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a:t>Proposed to SEC</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HIG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16139852"/>
                  </a:ext>
                </a:extLst>
              </a:tr>
              <a:tr h="370840">
                <a:tc>
                  <a:txBody>
                    <a:bodyPr/>
                    <a:lstStyle/>
                    <a:p>
                      <a:r>
                        <a:rPr lang="en-US" sz="1200" b="1"/>
                        <a:t>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CME Application to Register as Clearing Agenc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i="1">
                          <a:solidFill>
                            <a:prstClr val="black"/>
                          </a:solidFill>
                        </a:rPr>
                        <a:t>CME Securities Clearing Inc. has applied to register as a Clearing Agency to offer Treasury Clearing services and cross-margining capabiliti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a:t>Application filed, comment period close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a:t>HIG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73440566"/>
                  </a:ext>
                </a:extLst>
              </a:tr>
              <a:tr h="370840">
                <a:tc>
                  <a:txBody>
                    <a:bodyPr/>
                    <a:lstStyle/>
                    <a:p>
                      <a:r>
                        <a:rPr lang="en-US" sz="1200" b="1"/>
                        <a:t>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ICE Application to Register as Clearing Agenc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0" i="1" kern="1200">
                          <a:solidFill>
                            <a:schemeClr val="dk1"/>
                          </a:solidFill>
                          <a:effectLst/>
                          <a:latin typeface="+mn-lt"/>
                          <a:ea typeface="+mn-ea"/>
                          <a:cs typeface="+mn-cs"/>
                        </a:rPr>
                        <a:t>ICE Clearing Credit LLC has applied to register as a Clearing Agency to offer Treasury Clearing Services</a:t>
                      </a:r>
                      <a:endParaRPr lang="en-US" sz="1200" i="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a:t>Application filed, comment period op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HIG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32150150"/>
                  </a:ext>
                </a:extLst>
              </a:tr>
              <a:tr h="370840">
                <a:tc>
                  <a:txBody>
                    <a:bodyPr/>
                    <a:lstStyle/>
                    <a:p>
                      <a:r>
                        <a:rPr lang="en-US" sz="1200" b="1"/>
                        <a:t>5</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Member Default – account Port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i="1"/>
                        <a:t>FICC’s proposed rule to create enhanced procedures around member defaults, including enablement of “porting” to another clearing brok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a:t>Application filed, comment period close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HIG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49249070"/>
                  </a:ext>
                </a:extLst>
              </a:tr>
              <a:tr h="370840">
                <a:tc>
                  <a:txBody>
                    <a:bodyPr/>
                    <a:lstStyle/>
                    <a:p>
                      <a:r>
                        <a:rPr lang="en-US" sz="1200" b="1"/>
                        <a:t>6</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1"/>
                        <a:t>Done Away Standardized Proces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i="1"/>
                        <a:t>SIFMA working group is establishing a standard workflow for managing the done-away clearing operating procedur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a:t>Draft has been produce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t>ME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75277742"/>
                  </a:ext>
                </a:extLst>
              </a:tr>
            </a:tbl>
          </a:graphicData>
        </a:graphic>
      </p:graphicFrame>
    </p:spTree>
    <p:extLst>
      <p:ext uri="{BB962C8B-B14F-4D97-AF65-F5344CB8AC3E}">
        <p14:creationId xmlns:p14="http://schemas.microsoft.com/office/powerpoint/2010/main" val="175510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4A8FE6-9078-0A40-8461-8625EFFCD23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C30D3A9-EEED-E617-747C-CB31C88538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6C30D3A9-EEED-E617-747C-CB31C88538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4BC3FC-4573-820A-60D0-6663BC5A23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A38437B0-B0B8-1DD6-8078-AE8CF326EDDA}"/>
              </a:ext>
            </a:extLst>
          </p:cNvPr>
          <p:cNvSpPr>
            <a:spLocks noGrp="1"/>
          </p:cNvSpPr>
          <p:nvPr>
            <p:ph type="title"/>
          </p:nvPr>
        </p:nvSpPr>
        <p:spPr>
          <a:xfrm>
            <a:off x="450000" y="345992"/>
            <a:ext cx="11304000" cy="342000"/>
          </a:xfrm>
        </p:spPr>
        <p:txBody>
          <a:bodyPr/>
          <a:lstStyle/>
          <a:p>
            <a:pPr>
              <a:spcBef>
                <a:spcPct val="0"/>
              </a:spcBef>
            </a:pPr>
            <a:r>
              <a:rPr lang="en-US" sz="2400" b="1"/>
              <a:t>Done with vs. Done Away Trading</a:t>
            </a:r>
          </a:p>
        </p:txBody>
      </p:sp>
      <p:sp>
        <p:nvSpPr>
          <p:cNvPr id="3" name="Rectangle 2">
            <a:extLst>
              <a:ext uri="{FF2B5EF4-FFF2-40B4-BE49-F238E27FC236}">
                <a16:creationId xmlns:a16="http://schemas.microsoft.com/office/drawing/2014/main" id="{7DB57922-8565-074F-39B8-2E68EF0B25C1}"/>
              </a:ext>
            </a:extLst>
          </p:cNvPr>
          <p:cNvSpPr/>
          <p:nvPr/>
        </p:nvSpPr>
        <p:spPr>
          <a:xfrm>
            <a:off x="5482531" y="1382284"/>
            <a:ext cx="6464971" cy="4796770"/>
          </a:xfrm>
          <a:prstGeom prst="rect">
            <a:avLst/>
          </a:prstGeom>
          <a:solidFill>
            <a:sysClr val="window" lastClr="FFFFFF">
              <a:lumMod val="85000"/>
              <a:alpha val="20000"/>
            </a:sys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00C492D2-25D9-E0FE-F536-69C29E381B0F}"/>
              </a:ext>
            </a:extLst>
          </p:cNvPr>
          <p:cNvSpPr/>
          <p:nvPr/>
        </p:nvSpPr>
        <p:spPr>
          <a:xfrm>
            <a:off x="538361" y="1373404"/>
            <a:ext cx="5137447" cy="4796771"/>
          </a:xfrm>
          <a:prstGeom prst="rect">
            <a:avLst/>
          </a:prstGeom>
          <a:solidFill>
            <a:sysClr val="window" lastClr="FFFFFF">
              <a:lumMod val="85000"/>
              <a:alpha val="20000"/>
            </a:sys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E2CA1D53-DE69-7D77-A62B-F1163E021C73}"/>
              </a:ext>
            </a:extLst>
          </p:cNvPr>
          <p:cNvSpPr/>
          <p:nvPr/>
        </p:nvSpPr>
        <p:spPr>
          <a:xfrm>
            <a:off x="576858" y="1954457"/>
            <a:ext cx="5069445" cy="1031051"/>
          </a:xfrm>
          <a:prstGeom prst="rect">
            <a:avLst/>
          </a:prstGeom>
          <a:noFill/>
          <a:ln>
            <a:noFill/>
          </a:ln>
        </p:spPr>
        <p:txBody>
          <a:bodyPr wrap="square">
            <a:spAutoFit/>
          </a:bodyPr>
          <a:lstStyle/>
          <a:p>
            <a:pPr marL="171450" lvl="1" indent="-171450" defTabSz="1219170" fontAlgn="base">
              <a:spcBef>
                <a:spcPts val="300"/>
              </a:spcBef>
              <a:spcAft>
                <a:spcPts val="300"/>
              </a:spcAft>
              <a:buSzPct val="100000"/>
              <a:buFont typeface="Arial" panose="020B0604020202020204" pitchFamily="34" charset="0"/>
              <a:buChar char="•"/>
            </a:pPr>
            <a:r>
              <a:rPr lang="en-US" sz="1400" kern="0">
                <a:solidFill>
                  <a:srgbClr val="53565A">
                    <a:lumMod val="75000"/>
                  </a:srgbClr>
                </a:solidFill>
                <a:ea typeface="Open Sans" panose="020B0606030504020204" pitchFamily="34" charset="0"/>
                <a:cs typeface="Open Sans" panose="020B0606030504020204" pitchFamily="34" charset="0"/>
              </a:rPr>
              <a:t>“Done with” trading refers to transactions executed and cleared with the same broker dealer</a:t>
            </a:r>
          </a:p>
          <a:p>
            <a:pPr marL="171450" lvl="1" indent="-171450" defTabSz="1219170" fontAlgn="base">
              <a:spcBef>
                <a:spcPts val="300"/>
              </a:spcBef>
              <a:spcAft>
                <a:spcPts val="300"/>
              </a:spcAft>
              <a:buSzPct val="100000"/>
              <a:buFont typeface="Arial" panose="020B0604020202020204" pitchFamily="34" charset="0"/>
              <a:buChar char="•"/>
            </a:pPr>
            <a:r>
              <a:rPr lang="en-US" sz="1400" kern="0">
                <a:solidFill>
                  <a:srgbClr val="53565A">
                    <a:lumMod val="75000"/>
                  </a:srgbClr>
                </a:solidFill>
                <a:ea typeface="Open Sans" panose="020B0606030504020204" pitchFamily="34" charset="0"/>
                <a:cs typeface="Open Sans" panose="020B0606030504020204" pitchFamily="34" charset="0"/>
              </a:rPr>
              <a:t>Trades are conducted bilaterally with the Executing Broker also being the Clearing Broker</a:t>
            </a:r>
          </a:p>
        </p:txBody>
      </p:sp>
      <p:cxnSp>
        <p:nvCxnSpPr>
          <p:cNvPr id="8" name="Straight Connector 7">
            <a:extLst>
              <a:ext uri="{FF2B5EF4-FFF2-40B4-BE49-F238E27FC236}">
                <a16:creationId xmlns:a16="http://schemas.microsoft.com/office/drawing/2014/main" id="{9C31EE01-1ED7-315B-A01C-AB7E73928D21}"/>
              </a:ext>
            </a:extLst>
          </p:cNvPr>
          <p:cNvCxnSpPr>
            <a:cxnSpLocks/>
          </p:cNvCxnSpPr>
          <p:nvPr/>
        </p:nvCxnSpPr>
        <p:spPr>
          <a:xfrm>
            <a:off x="5668873" y="1405031"/>
            <a:ext cx="0" cy="4762489"/>
          </a:xfrm>
          <a:prstGeom prst="line">
            <a:avLst/>
          </a:prstGeom>
          <a:noFill/>
          <a:ln w="38100" cap="flat" cmpd="sng" algn="ctr">
            <a:solidFill>
              <a:sysClr val="windowText" lastClr="000000"/>
            </a:solidFill>
            <a:prstDash val="solid"/>
          </a:ln>
          <a:effectLst>
            <a:outerShdw blurRad="40000" dist="23000" dir="5400000" rotWithShape="0">
              <a:srgbClr val="000000">
                <a:alpha val="35000"/>
              </a:srgbClr>
            </a:outerShdw>
          </a:effectLst>
        </p:spPr>
      </p:cxnSp>
      <p:sp>
        <p:nvSpPr>
          <p:cNvPr id="10" name="TextBox 9">
            <a:extLst>
              <a:ext uri="{FF2B5EF4-FFF2-40B4-BE49-F238E27FC236}">
                <a16:creationId xmlns:a16="http://schemas.microsoft.com/office/drawing/2014/main" id="{4C79EAEB-74F0-F18A-6547-298F3162CAEC}"/>
              </a:ext>
            </a:extLst>
          </p:cNvPr>
          <p:cNvSpPr txBox="1"/>
          <p:nvPr/>
        </p:nvSpPr>
        <p:spPr>
          <a:xfrm>
            <a:off x="411356" y="1379237"/>
            <a:ext cx="5400448" cy="422360"/>
          </a:xfrm>
          <a:prstGeom prst="rect">
            <a:avLst/>
          </a:prstGeom>
          <a:noFill/>
        </p:spPr>
        <p:txBody>
          <a:bodyPr wrap="square" rtlCol="0">
            <a:spAutoFit/>
          </a:bodyPr>
          <a:lstStyle/>
          <a:p>
            <a:pPr algn="ctr" fontAlgn="base">
              <a:lnSpc>
                <a:spcPct val="150000"/>
              </a:lnSpc>
              <a:spcBef>
                <a:spcPct val="0"/>
              </a:spcBef>
              <a:spcAft>
                <a:spcPct val="0"/>
              </a:spcAft>
            </a:pPr>
            <a:r>
              <a:rPr lang="en-US" sz="1600" b="1">
                <a:solidFill>
                  <a:srgbClr val="53565A">
                    <a:lumMod val="50000"/>
                  </a:srgbClr>
                </a:solidFill>
                <a:ea typeface="Open Sans" panose="020B0606030504020204" pitchFamily="34" charset="0"/>
                <a:cs typeface="Open Sans" panose="020B0606030504020204" pitchFamily="34" charset="0"/>
              </a:rPr>
              <a:t>“Done With” Trading</a:t>
            </a:r>
          </a:p>
        </p:txBody>
      </p:sp>
      <p:sp>
        <p:nvSpPr>
          <p:cNvPr id="11" name="TextBox 10">
            <a:extLst>
              <a:ext uri="{FF2B5EF4-FFF2-40B4-BE49-F238E27FC236}">
                <a16:creationId xmlns:a16="http://schemas.microsoft.com/office/drawing/2014/main" id="{30406628-5B77-5DB1-D874-0220BCF4419F}"/>
              </a:ext>
            </a:extLst>
          </p:cNvPr>
          <p:cNvSpPr txBox="1"/>
          <p:nvPr/>
        </p:nvSpPr>
        <p:spPr>
          <a:xfrm>
            <a:off x="6012332" y="1379237"/>
            <a:ext cx="5537878" cy="422360"/>
          </a:xfrm>
          <a:prstGeom prst="rect">
            <a:avLst/>
          </a:prstGeom>
          <a:noFill/>
        </p:spPr>
        <p:txBody>
          <a:bodyPr wrap="square" rtlCol="0">
            <a:spAutoFit/>
          </a:bodyPr>
          <a:lstStyle/>
          <a:p>
            <a:pPr algn="ctr" fontAlgn="base">
              <a:lnSpc>
                <a:spcPct val="150000"/>
              </a:lnSpc>
              <a:spcBef>
                <a:spcPct val="0"/>
              </a:spcBef>
              <a:spcAft>
                <a:spcPct val="0"/>
              </a:spcAft>
            </a:pPr>
            <a:r>
              <a:rPr lang="en-US" sz="1600" b="1">
                <a:solidFill>
                  <a:srgbClr val="53565A">
                    <a:lumMod val="50000"/>
                  </a:srgbClr>
                </a:solidFill>
                <a:ea typeface="Open Sans" panose="020B0606030504020204" pitchFamily="34" charset="0"/>
                <a:cs typeface="Open Sans" panose="020B0606030504020204" pitchFamily="34" charset="0"/>
              </a:rPr>
              <a:t>“Done Away” Trading</a:t>
            </a:r>
          </a:p>
        </p:txBody>
      </p:sp>
      <p:sp>
        <p:nvSpPr>
          <p:cNvPr id="17" name="Rectangle 16">
            <a:extLst>
              <a:ext uri="{FF2B5EF4-FFF2-40B4-BE49-F238E27FC236}">
                <a16:creationId xmlns:a16="http://schemas.microsoft.com/office/drawing/2014/main" id="{EDB73775-3869-6200-4FC2-5E7387C92219}"/>
              </a:ext>
            </a:extLst>
          </p:cNvPr>
          <p:cNvSpPr/>
          <p:nvPr/>
        </p:nvSpPr>
        <p:spPr>
          <a:xfrm>
            <a:off x="5908903" y="1955161"/>
            <a:ext cx="5744736" cy="1077218"/>
          </a:xfrm>
          <a:prstGeom prst="rect">
            <a:avLst/>
          </a:prstGeom>
          <a:noFill/>
          <a:ln>
            <a:noFill/>
          </a:ln>
        </p:spPr>
        <p:txBody>
          <a:bodyPr wrap="square">
            <a:spAutoFit/>
          </a:bodyPr>
          <a:lstStyle/>
          <a:p>
            <a:pPr marL="171450" lvl="1" indent="-171450" defTabSz="1219170" fontAlgn="base">
              <a:spcBef>
                <a:spcPts val="300"/>
              </a:spcBef>
              <a:spcAft>
                <a:spcPts val="300"/>
              </a:spcAft>
              <a:buSzPct val="100000"/>
              <a:buFont typeface="Arial" panose="020B0604020202020204" pitchFamily="34" charset="0"/>
              <a:buChar char="•"/>
            </a:pPr>
            <a:r>
              <a:rPr lang="en-US" sz="1400" kern="0">
                <a:solidFill>
                  <a:srgbClr val="53565A">
                    <a:lumMod val="75000"/>
                  </a:srgbClr>
                </a:solidFill>
                <a:ea typeface="Open Sans" panose="020B0606030504020204" pitchFamily="34" charset="0"/>
                <a:cs typeface="Open Sans" panose="020B0606030504020204" pitchFamily="34" charset="0"/>
              </a:rPr>
              <a:t>“Done away” trading refers to transactions between a client and its executing broker that are cleared at another clearing broker </a:t>
            </a:r>
          </a:p>
          <a:p>
            <a:pPr marL="171450" lvl="1" indent="-171450" defTabSz="1219170" fontAlgn="base">
              <a:spcBef>
                <a:spcPts val="300"/>
              </a:spcBef>
              <a:spcAft>
                <a:spcPts val="300"/>
              </a:spcAft>
              <a:buSzPct val="100000"/>
              <a:buFont typeface="Arial" panose="020B0604020202020204" pitchFamily="34" charset="0"/>
              <a:buChar char="•"/>
            </a:pPr>
            <a:r>
              <a:rPr lang="en-US" sz="1400" kern="0">
                <a:solidFill>
                  <a:srgbClr val="53565A">
                    <a:lumMod val="75000"/>
                  </a:srgbClr>
                </a:solidFill>
                <a:ea typeface="Open Sans" panose="020B0606030504020204" pitchFamily="34" charset="0"/>
                <a:cs typeface="Open Sans" panose="020B0606030504020204" pitchFamily="34" charset="0"/>
              </a:rPr>
              <a:t>The trades are ‘done away’ from the Clearing Broker</a:t>
            </a:r>
          </a:p>
          <a:p>
            <a:pPr marL="171450" lvl="1" indent="-171450" defTabSz="1219170" fontAlgn="base">
              <a:spcBef>
                <a:spcPts val="300"/>
              </a:spcBef>
              <a:spcAft>
                <a:spcPts val="300"/>
              </a:spcAft>
              <a:buSzPct val="100000"/>
              <a:buFont typeface="Arial" panose="020B0604020202020204" pitchFamily="34" charset="0"/>
              <a:buChar char="•"/>
            </a:pPr>
            <a:endParaRPr lang="en-US" sz="1200" kern="0">
              <a:solidFill>
                <a:srgbClr val="53565A">
                  <a:lumMod val="75000"/>
                </a:srgb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4D0F61A7-8D0F-5378-EECE-3E2350547237}"/>
              </a:ext>
            </a:extLst>
          </p:cNvPr>
          <p:cNvSpPr/>
          <p:nvPr/>
        </p:nvSpPr>
        <p:spPr>
          <a:xfrm>
            <a:off x="1070679" y="3756416"/>
            <a:ext cx="1496292" cy="590550"/>
          </a:xfrm>
          <a:prstGeom prst="rect">
            <a:avLst/>
          </a:prstGeom>
          <a:solidFill>
            <a:srgbClr val="6A6A6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li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Indirect Participant)</a:t>
            </a:r>
          </a:p>
        </p:txBody>
      </p:sp>
      <p:sp>
        <p:nvSpPr>
          <p:cNvPr id="22" name="Rectangle 21">
            <a:extLst>
              <a:ext uri="{FF2B5EF4-FFF2-40B4-BE49-F238E27FC236}">
                <a16:creationId xmlns:a16="http://schemas.microsoft.com/office/drawing/2014/main" id="{8EEC7D94-6683-F7D1-A72B-46D6A0B53F3C}"/>
              </a:ext>
            </a:extLst>
          </p:cNvPr>
          <p:cNvSpPr/>
          <p:nvPr/>
        </p:nvSpPr>
        <p:spPr>
          <a:xfrm>
            <a:off x="3601908" y="3749693"/>
            <a:ext cx="1496292" cy="590550"/>
          </a:xfrm>
          <a:prstGeom prst="rect">
            <a:avLst/>
          </a:prstGeom>
          <a:solidFill>
            <a:srgbClr val="0121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Executing &amp; Clearing Brok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irect Participant) </a:t>
            </a:r>
          </a:p>
        </p:txBody>
      </p:sp>
      <p:cxnSp>
        <p:nvCxnSpPr>
          <p:cNvPr id="23" name="Straight Arrow Connector 22">
            <a:extLst>
              <a:ext uri="{FF2B5EF4-FFF2-40B4-BE49-F238E27FC236}">
                <a16:creationId xmlns:a16="http://schemas.microsoft.com/office/drawing/2014/main" id="{F0D3D954-D10B-D6C0-CDA9-473D7EC8DF12}"/>
              </a:ext>
            </a:extLst>
          </p:cNvPr>
          <p:cNvCxnSpPr>
            <a:cxnSpLocks/>
            <a:stCxn id="21" idx="3"/>
            <a:endCxn id="22" idx="1"/>
          </p:cNvCxnSpPr>
          <p:nvPr/>
        </p:nvCxnSpPr>
        <p:spPr>
          <a:xfrm flipV="1">
            <a:off x="2566971" y="4044968"/>
            <a:ext cx="1034937" cy="6723"/>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24" name="Rectangle 23">
            <a:extLst>
              <a:ext uri="{FF2B5EF4-FFF2-40B4-BE49-F238E27FC236}">
                <a16:creationId xmlns:a16="http://schemas.microsoft.com/office/drawing/2014/main" id="{9A0C4058-1E29-A6FB-6190-AAE973C1E731}"/>
              </a:ext>
            </a:extLst>
          </p:cNvPr>
          <p:cNvSpPr/>
          <p:nvPr/>
        </p:nvSpPr>
        <p:spPr>
          <a:xfrm>
            <a:off x="3601908" y="5119741"/>
            <a:ext cx="1496292" cy="590550"/>
          </a:xfrm>
          <a:prstGeom prst="rect">
            <a:avLst/>
          </a:prstGeom>
          <a:solidFill>
            <a:srgbClr val="40404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FICC</a:t>
            </a:r>
          </a:p>
        </p:txBody>
      </p:sp>
      <p:cxnSp>
        <p:nvCxnSpPr>
          <p:cNvPr id="25" name="Straight Arrow Connector 24">
            <a:extLst>
              <a:ext uri="{FF2B5EF4-FFF2-40B4-BE49-F238E27FC236}">
                <a16:creationId xmlns:a16="http://schemas.microsoft.com/office/drawing/2014/main" id="{A0E31287-95FF-1D35-38F8-4501CA2F6155}"/>
              </a:ext>
            </a:extLst>
          </p:cNvPr>
          <p:cNvCxnSpPr>
            <a:cxnSpLocks/>
          </p:cNvCxnSpPr>
          <p:nvPr/>
        </p:nvCxnSpPr>
        <p:spPr>
          <a:xfrm flipV="1">
            <a:off x="4032762" y="4340243"/>
            <a:ext cx="0" cy="779498"/>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26" name="TextBox 25">
            <a:extLst>
              <a:ext uri="{FF2B5EF4-FFF2-40B4-BE49-F238E27FC236}">
                <a16:creationId xmlns:a16="http://schemas.microsoft.com/office/drawing/2014/main" id="{6B632FB3-A091-E728-EF7F-C27B5551A25E}"/>
              </a:ext>
            </a:extLst>
          </p:cNvPr>
          <p:cNvSpPr txBox="1"/>
          <p:nvPr/>
        </p:nvSpPr>
        <p:spPr>
          <a:xfrm>
            <a:off x="2798349" y="3928580"/>
            <a:ext cx="526845" cy="246221"/>
          </a:xfrm>
          <a:prstGeom prst="rect">
            <a:avLst/>
          </a:prstGeom>
          <a:solidFill>
            <a:sysClr val="window" lastClr="FFFFFF">
              <a:lumMod val="95000"/>
            </a:sysClr>
          </a:solid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de </a:t>
            </a:r>
          </a:p>
        </p:txBody>
      </p:sp>
      <p:sp>
        <p:nvSpPr>
          <p:cNvPr id="27" name="TextBox 26">
            <a:extLst>
              <a:ext uri="{FF2B5EF4-FFF2-40B4-BE49-F238E27FC236}">
                <a16:creationId xmlns:a16="http://schemas.microsoft.com/office/drawing/2014/main" id="{AFBA49AB-12C5-560D-304E-C11DDC1588A2}"/>
              </a:ext>
            </a:extLst>
          </p:cNvPr>
          <p:cNvSpPr txBox="1"/>
          <p:nvPr/>
        </p:nvSpPr>
        <p:spPr>
          <a:xfrm>
            <a:off x="3766907" y="4555793"/>
            <a:ext cx="531711" cy="400110"/>
          </a:xfrm>
          <a:prstGeom prst="rect">
            <a:avLst/>
          </a:prstGeom>
          <a:solidFill>
            <a:sysClr val="window" lastClr="FFFFFF">
              <a:lumMod val="95000"/>
            </a:sysClr>
          </a:solid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d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x</a:t>
            </a:r>
          </a:p>
        </p:txBody>
      </p:sp>
      <p:sp>
        <p:nvSpPr>
          <p:cNvPr id="28" name="TextBox 27">
            <a:extLst>
              <a:ext uri="{FF2B5EF4-FFF2-40B4-BE49-F238E27FC236}">
                <a16:creationId xmlns:a16="http://schemas.microsoft.com/office/drawing/2014/main" id="{035B4F12-8C50-5A53-3EA0-62445E9D5467}"/>
              </a:ext>
            </a:extLst>
          </p:cNvPr>
          <p:cNvSpPr txBox="1"/>
          <p:nvPr/>
        </p:nvSpPr>
        <p:spPr>
          <a:xfrm>
            <a:off x="2936356" y="3642808"/>
            <a:ext cx="205563" cy="227216"/>
          </a:xfrm>
          <a:prstGeom prst="flowChartConnector">
            <a:avLst/>
          </a:prstGeom>
          <a:solidFill>
            <a:srgbClr val="F2F2F2"/>
          </a:solidFill>
          <a:ln>
            <a:solidFill>
              <a:sysClr val="windowText" lastClr="000000"/>
            </a:solid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050" b="0" i="0" u="none" strike="noStrike" kern="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29" name="TextBox 28">
            <a:extLst>
              <a:ext uri="{FF2B5EF4-FFF2-40B4-BE49-F238E27FC236}">
                <a16:creationId xmlns:a16="http://schemas.microsoft.com/office/drawing/2014/main" id="{1C65DC4F-8569-68E4-15BB-588BE7004E72}"/>
              </a:ext>
            </a:extLst>
          </p:cNvPr>
          <p:cNvSpPr txBox="1"/>
          <p:nvPr/>
        </p:nvSpPr>
        <p:spPr>
          <a:xfrm>
            <a:off x="3930737" y="4346966"/>
            <a:ext cx="205563" cy="227216"/>
          </a:xfrm>
          <a:prstGeom prst="flowChartConnector">
            <a:avLst/>
          </a:prstGeom>
          <a:solidFill>
            <a:srgbClr val="F2F2F2"/>
          </a:solidFill>
          <a:ln>
            <a:solidFill>
              <a:sysClr val="windowText" lastClr="000000"/>
            </a:solid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050" b="0" i="0" u="none" strike="noStrike" kern="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32" name="Rectangle 31">
            <a:extLst>
              <a:ext uri="{FF2B5EF4-FFF2-40B4-BE49-F238E27FC236}">
                <a16:creationId xmlns:a16="http://schemas.microsoft.com/office/drawing/2014/main" id="{B9BB899A-59E8-EE9B-BEDF-EAB9687DD637}"/>
              </a:ext>
            </a:extLst>
          </p:cNvPr>
          <p:cNvSpPr/>
          <p:nvPr/>
        </p:nvSpPr>
        <p:spPr>
          <a:xfrm>
            <a:off x="5934509" y="3756416"/>
            <a:ext cx="1496292" cy="590550"/>
          </a:xfrm>
          <a:prstGeom prst="rect">
            <a:avLst/>
          </a:prstGeom>
          <a:solidFill>
            <a:srgbClr val="6A6A6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li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Indirect Participant)</a:t>
            </a:r>
          </a:p>
        </p:txBody>
      </p:sp>
      <p:sp>
        <p:nvSpPr>
          <p:cNvPr id="33" name="Rectangle 32">
            <a:extLst>
              <a:ext uri="{FF2B5EF4-FFF2-40B4-BE49-F238E27FC236}">
                <a16:creationId xmlns:a16="http://schemas.microsoft.com/office/drawing/2014/main" id="{8E0A7268-BC5D-DB6C-E40C-B0E1E7E20ECC}"/>
              </a:ext>
            </a:extLst>
          </p:cNvPr>
          <p:cNvSpPr/>
          <p:nvPr/>
        </p:nvSpPr>
        <p:spPr>
          <a:xfrm>
            <a:off x="8465738" y="3749693"/>
            <a:ext cx="1496292" cy="590550"/>
          </a:xfrm>
          <a:prstGeom prst="rect">
            <a:avLst/>
          </a:prstGeom>
          <a:solidFill>
            <a:srgbClr val="0121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Executing Brok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irect Participant) </a:t>
            </a:r>
          </a:p>
        </p:txBody>
      </p:sp>
      <p:cxnSp>
        <p:nvCxnSpPr>
          <p:cNvPr id="34" name="Straight Arrow Connector 33">
            <a:extLst>
              <a:ext uri="{FF2B5EF4-FFF2-40B4-BE49-F238E27FC236}">
                <a16:creationId xmlns:a16="http://schemas.microsoft.com/office/drawing/2014/main" id="{8FA1CD1D-9225-622A-42FC-F6A8FB23D902}"/>
              </a:ext>
            </a:extLst>
          </p:cNvPr>
          <p:cNvCxnSpPr>
            <a:cxnSpLocks/>
            <a:stCxn id="32" idx="3"/>
            <a:endCxn id="33" idx="1"/>
          </p:cNvCxnSpPr>
          <p:nvPr/>
        </p:nvCxnSpPr>
        <p:spPr>
          <a:xfrm flipV="1">
            <a:off x="7430801" y="4044968"/>
            <a:ext cx="1034937" cy="6723"/>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51" name="Rectangle 50">
            <a:extLst>
              <a:ext uri="{FF2B5EF4-FFF2-40B4-BE49-F238E27FC236}">
                <a16:creationId xmlns:a16="http://schemas.microsoft.com/office/drawing/2014/main" id="{C346A723-D342-745C-21B1-8B28AC8889D6}"/>
              </a:ext>
            </a:extLst>
          </p:cNvPr>
          <p:cNvSpPr/>
          <p:nvPr/>
        </p:nvSpPr>
        <p:spPr>
          <a:xfrm>
            <a:off x="8465738" y="5119741"/>
            <a:ext cx="3269062" cy="590550"/>
          </a:xfrm>
          <a:prstGeom prst="rect">
            <a:avLst/>
          </a:prstGeom>
          <a:solidFill>
            <a:srgbClr val="40404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FICC</a:t>
            </a:r>
          </a:p>
        </p:txBody>
      </p:sp>
      <p:cxnSp>
        <p:nvCxnSpPr>
          <p:cNvPr id="52" name="Straight Arrow Connector 51">
            <a:extLst>
              <a:ext uri="{FF2B5EF4-FFF2-40B4-BE49-F238E27FC236}">
                <a16:creationId xmlns:a16="http://schemas.microsoft.com/office/drawing/2014/main" id="{81C00C10-FD00-9412-5C57-B9A2C4DF6BF3}"/>
              </a:ext>
            </a:extLst>
          </p:cNvPr>
          <p:cNvCxnSpPr>
            <a:cxnSpLocks/>
            <a:endCxn id="33" idx="2"/>
          </p:cNvCxnSpPr>
          <p:nvPr/>
        </p:nvCxnSpPr>
        <p:spPr>
          <a:xfrm flipV="1">
            <a:off x="9213884" y="4340243"/>
            <a:ext cx="0" cy="780062"/>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53" name="TextBox 52">
            <a:extLst>
              <a:ext uri="{FF2B5EF4-FFF2-40B4-BE49-F238E27FC236}">
                <a16:creationId xmlns:a16="http://schemas.microsoft.com/office/drawing/2014/main" id="{1B7BB193-4D6B-6E7E-4EC1-6CD9AECF0012}"/>
              </a:ext>
            </a:extLst>
          </p:cNvPr>
          <p:cNvSpPr txBox="1"/>
          <p:nvPr/>
        </p:nvSpPr>
        <p:spPr>
          <a:xfrm>
            <a:off x="7662179" y="3928580"/>
            <a:ext cx="526845" cy="246221"/>
          </a:xfrm>
          <a:prstGeom prst="rect">
            <a:avLst/>
          </a:prstGeom>
          <a:solidFill>
            <a:sysClr val="window" lastClr="FFFFFF">
              <a:lumMod val="95000"/>
            </a:sysClr>
          </a:solid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de </a:t>
            </a:r>
          </a:p>
        </p:txBody>
      </p:sp>
      <p:sp>
        <p:nvSpPr>
          <p:cNvPr id="54" name="TextBox 53">
            <a:extLst>
              <a:ext uri="{FF2B5EF4-FFF2-40B4-BE49-F238E27FC236}">
                <a16:creationId xmlns:a16="http://schemas.microsoft.com/office/drawing/2014/main" id="{858D9498-AA0D-2CCA-EE9D-447EDC36534A}"/>
              </a:ext>
            </a:extLst>
          </p:cNvPr>
          <p:cNvSpPr txBox="1"/>
          <p:nvPr/>
        </p:nvSpPr>
        <p:spPr>
          <a:xfrm>
            <a:off x="8948029" y="4555793"/>
            <a:ext cx="531711" cy="400110"/>
          </a:xfrm>
          <a:prstGeom prst="rect">
            <a:avLst/>
          </a:prstGeom>
          <a:solidFill>
            <a:sysClr val="window" lastClr="FFFFFF">
              <a:lumMod val="95000"/>
            </a:sysClr>
          </a:solid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d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x</a:t>
            </a:r>
          </a:p>
        </p:txBody>
      </p:sp>
      <p:sp>
        <p:nvSpPr>
          <p:cNvPr id="55" name="TextBox 54">
            <a:extLst>
              <a:ext uri="{FF2B5EF4-FFF2-40B4-BE49-F238E27FC236}">
                <a16:creationId xmlns:a16="http://schemas.microsoft.com/office/drawing/2014/main" id="{B71710D6-C557-47E6-F74D-D7E803729653}"/>
              </a:ext>
            </a:extLst>
          </p:cNvPr>
          <p:cNvSpPr txBox="1"/>
          <p:nvPr/>
        </p:nvSpPr>
        <p:spPr>
          <a:xfrm>
            <a:off x="7800186" y="3642808"/>
            <a:ext cx="205563" cy="227216"/>
          </a:xfrm>
          <a:prstGeom prst="flowChartConnector">
            <a:avLst/>
          </a:prstGeom>
          <a:solidFill>
            <a:srgbClr val="F2F2F2"/>
          </a:solidFill>
          <a:ln>
            <a:solidFill>
              <a:sysClr val="windowText" lastClr="000000"/>
            </a:solid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050" b="0" i="0" u="none" strike="noStrike" kern="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56" name="TextBox 55">
            <a:extLst>
              <a:ext uri="{FF2B5EF4-FFF2-40B4-BE49-F238E27FC236}">
                <a16:creationId xmlns:a16="http://schemas.microsoft.com/office/drawing/2014/main" id="{1F9D5DC3-0A87-490D-DE98-2367E64A04D6}"/>
              </a:ext>
            </a:extLst>
          </p:cNvPr>
          <p:cNvSpPr txBox="1"/>
          <p:nvPr/>
        </p:nvSpPr>
        <p:spPr>
          <a:xfrm>
            <a:off x="9111859" y="4346966"/>
            <a:ext cx="205563" cy="227216"/>
          </a:xfrm>
          <a:prstGeom prst="flowChartConnector">
            <a:avLst/>
          </a:prstGeom>
          <a:solidFill>
            <a:srgbClr val="F2F2F2"/>
          </a:solidFill>
          <a:ln>
            <a:solidFill>
              <a:sysClr val="windowText" lastClr="000000"/>
            </a:solid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050" b="0" i="0" u="none" strike="noStrike" kern="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60" name="Rectangle 59">
            <a:extLst>
              <a:ext uri="{FF2B5EF4-FFF2-40B4-BE49-F238E27FC236}">
                <a16:creationId xmlns:a16="http://schemas.microsoft.com/office/drawing/2014/main" id="{4B854A1F-27F9-3115-0470-6AF949989E98}"/>
              </a:ext>
            </a:extLst>
          </p:cNvPr>
          <p:cNvSpPr/>
          <p:nvPr/>
        </p:nvSpPr>
        <p:spPr>
          <a:xfrm>
            <a:off x="10249142" y="3749693"/>
            <a:ext cx="1496292" cy="590550"/>
          </a:xfrm>
          <a:prstGeom prst="rect">
            <a:avLst/>
          </a:prstGeom>
          <a:solidFill>
            <a:srgbClr val="0121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learing Brok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irect Participant) </a:t>
            </a:r>
          </a:p>
        </p:txBody>
      </p:sp>
      <p:cxnSp>
        <p:nvCxnSpPr>
          <p:cNvPr id="69" name="Straight Connector 68">
            <a:extLst>
              <a:ext uri="{FF2B5EF4-FFF2-40B4-BE49-F238E27FC236}">
                <a16:creationId xmlns:a16="http://schemas.microsoft.com/office/drawing/2014/main" id="{B3675038-6E40-5E1E-CFDE-32DD886BCDD6}"/>
              </a:ext>
            </a:extLst>
          </p:cNvPr>
          <p:cNvCxnSpPr>
            <a:stCxn id="32" idx="0"/>
          </p:cNvCxnSpPr>
          <p:nvPr/>
        </p:nvCxnSpPr>
        <p:spPr>
          <a:xfrm flipV="1">
            <a:off x="6682655" y="3132490"/>
            <a:ext cx="3490" cy="623926"/>
          </a:xfrm>
          <a:prstGeom prst="line">
            <a:avLst/>
          </a:prstGeom>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11EA7499-5714-B66C-AE0B-86477B96727E}"/>
              </a:ext>
            </a:extLst>
          </p:cNvPr>
          <p:cNvCxnSpPr>
            <a:cxnSpLocks/>
          </p:cNvCxnSpPr>
          <p:nvPr/>
        </p:nvCxnSpPr>
        <p:spPr>
          <a:xfrm>
            <a:off x="6679660" y="3126005"/>
            <a:ext cx="430457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3" name="Straight Arrow Connector 72">
            <a:extLst>
              <a:ext uri="{FF2B5EF4-FFF2-40B4-BE49-F238E27FC236}">
                <a16:creationId xmlns:a16="http://schemas.microsoft.com/office/drawing/2014/main" id="{E65BA22F-07CB-88A0-D1E0-68B15124BF4C}"/>
              </a:ext>
            </a:extLst>
          </p:cNvPr>
          <p:cNvCxnSpPr>
            <a:cxnSpLocks/>
            <a:endCxn id="60" idx="0"/>
          </p:cNvCxnSpPr>
          <p:nvPr/>
        </p:nvCxnSpPr>
        <p:spPr>
          <a:xfrm>
            <a:off x="10997288" y="3113197"/>
            <a:ext cx="0" cy="6364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7" name="TextBox 76">
            <a:extLst>
              <a:ext uri="{FF2B5EF4-FFF2-40B4-BE49-F238E27FC236}">
                <a16:creationId xmlns:a16="http://schemas.microsoft.com/office/drawing/2014/main" id="{DC3148F5-F299-E89C-7B0A-99831FB157CF}"/>
              </a:ext>
            </a:extLst>
          </p:cNvPr>
          <p:cNvSpPr txBox="1"/>
          <p:nvPr/>
        </p:nvSpPr>
        <p:spPr>
          <a:xfrm>
            <a:off x="8326665" y="3020276"/>
            <a:ext cx="1026672" cy="246221"/>
          </a:xfrm>
          <a:prstGeom prst="rect">
            <a:avLst/>
          </a:prstGeom>
          <a:solidFill>
            <a:sysClr val="window" lastClr="FFFFFF">
              <a:lumMod val="95000"/>
            </a:sysClr>
          </a:solid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earing Inx</a:t>
            </a:r>
          </a:p>
        </p:txBody>
      </p:sp>
      <p:sp>
        <p:nvSpPr>
          <p:cNvPr id="78" name="TextBox 77">
            <a:extLst>
              <a:ext uri="{FF2B5EF4-FFF2-40B4-BE49-F238E27FC236}">
                <a16:creationId xmlns:a16="http://schemas.microsoft.com/office/drawing/2014/main" id="{7836BAC0-5D79-999A-ADC2-8919CB8B2C2B}"/>
              </a:ext>
            </a:extLst>
          </p:cNvPr>
          <p:cNvSpPr txBox="1"/>
          <p:nvPr/>
        </p:nvSpPr>
        <p:spPr>
          <a:xfrm>
            <a:off x="8729163" y="2814751"/>
            <a:ext cx="205563" cy="227216"/>
          </a:xfrm>
          <a:prstGeom prst="flowChartConnector">
            <a:avLst/>
          </a:prstGeom>
          <a:solidFill>
            <a:srgbClr val="F2F2F2"/>
          </a:solidFill>
          <a:ln>
            <a:solidFill>
              <a:sysClr val="windowText" lastClr="000000"/>
            </a:solid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lang="en-US" sz="1050" kern="0">
                <a:solidFill>
                  <a:srgbClr val="313131"/>
                </a:solidFill>
                <a:latin typeface="Open Sans" panose="020B0606030504020204" pitchFamily="34" charset="0"/>
                <a:ea typeface="Open Sans" panose="020B0606030504020204" pitchFamily="34" charset="0"/>
                <a:cs typeface="Open Sans" panose="020B0606030504020204" pitchFamily="34" charset="0"/>
              </a:rPr>
              <a:t>3</a:t>
            </a:r>
            <a:endParaRPr kumimoji="0" lang="en-US" sz="1050" b="0" i="0" u="none" strike="noStrike" kern="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79" name="Straight Arrow Connector 78">
            <a:extLst>
              <a:ext uri="{FF2B5EF4-FFF2-40B4-BE49-F238E27FC236}">
                <a16:creationId xmlns:a16="http://schemas.microsoft.com/office/drawing/2014/main" id="{7E057CB5-E3B8-7FA7-C9E3-2ACEF0B93F2B}"/>
              </a:ext>
            </a:extLst>
          </p:cNvPr>
          <p:cNvCxnSpPr>
            <a:cxnSpLocks/>
          </p:cNvCxnSpPr>
          <p:nvPr/>
        </p:nvCxnSpPr>
        <p:spPr>
          <a:xfrm flipV="1">
            <a:off x="10987820" y="4340243"/>
            <a:ext cx="0" cy="779498"/>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80" name="TextBox 79">
            <a:extLst>
              <a:ext uri="{FF2B5EF4-FFF2-40B4-BE49-F238E27FC236}">
                <a16:creationId xmlns:a16="http://schemas.microsoft.com/office/drawing/2014/main" id="{9DA69CBC-62F0-1308-E513-7CCA7A2134FE}"/>
              </a:ext>
            </a:extLst>
          </p:cNvPr>
          <p:cNvSpPr txBox="1"/>
          <p:nvPr/>
        </p:nvSpPr>
        <p:spPr>
          <a:xfrm>
            <a:off x="10516841" y="4606034"/>
            <a:ext cx="941959" cy="258444"/>
          </a:xfrm>
          <a:prstGeom prst="rect">
            <a:avLst/>
          </a:prstGeom>
          <a:solidFill>
            <a:sysClr val="window" lastClr="FFFFFF">
              <a:lumMod val="95000"/>
            </a:sysClr>
          </a:solid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earing Inx</a:t>
            </a:r>
          </a:p>
        </p:txBody>
      </p:sp>
      <p:sp>
        <p:nvSpPr>
          <p:cNvPr id="81" name="TextBox 80">
            <a:extLst>
              <a:ext uri="{FF2B5EF4-FFF2-40B4-BE49-F238E27FC236}">
                <a16:creationId xmlns:a16="http://schemas.microsoft.com/office/drawing/2014/main" id="{91EB628E-8E0E-F6E3-1907-8D6F808C2203}"/>
              </a:ext>
            </a:extLst>
          </p:cNvPr>
          <p:cNvSpPr txBox="1"/>
          <p:nvPr/>
        </p:nvSpPr>
        <p:spPr>
          <a:xfrm>
            <a:off x="10885795" y="4346966"/>
            <a:ext cx="205563" cy="227216"/>
          </a:xfrm>
          <a:prstGeom prst="flowChartConnector">
            <a:avLst/>
          </a:prstGeom>
          <a:solidFill>
            <a:srgbClr val="F2F2F2"/>
          </a:solidFill>
          <a:ln>
            <a:solidFill>
              <a:sysClr val="windowText" lastClr="000000"/>
            </a:solid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lang="en-US" sz="1050" kern="0">
                <a:solidFill>
                  <a:srgbClr val="313131"/>
                </a:solidFill>
                <a:latin typeface="Open Sans" panose="020B0606030504020204" pitchFamily="34" charset="0"/>
                <a:ea typeface="Open Sans" panose="020B0606030504020204" pitchFamily="34" charset="0"/>
                <a:cs typeface="Open Sans" panose="020B0606030504020204" pitchFamily="34" charset="0"/>
              </a:rPr>
              <a:t>4</a:t>
            </a:r>
            <a:endParaRPr kumimoji="0" lang="en-US" sz="1050" b="0" i="0" u="none" strike="noStrike" kern="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32">
            <a:extLst>
              <a:ext uri="{FF2B5EF4-FFF2-40B4-BE49-F238E27FC236}">
                <a16:creationId xmlns:a16="http://schemas.microsoft.com/office/drawing/2014/main" id="{8334DD93-DE05-A7B4-2C28-10F20DE25C78}"/>
              </a:ext>
            </a:extLst>
          </p:cNvPr>
          <p:cNvSpPr txBox="1">
            <a:spLocks/>
          </p:cNvSpPr>
          <p:nvPr/>
        </p:nvSpPr>
        <p:spPr>
          <a:xfrm>
            <a:off x="450000" y="684000"/>
            <a:ext cx="11304000" cy="757255"/>
          </a:xfrm>
          <a:prstGeom prst="rect">
            <a:avLst/>
          </a:prstGeom>
        </p:spPr>
        <p:txBody>
          <a:bodyPr lIns="0" tIns="0" rIns="0" bIns="0"/>
          <a:lst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600">
                <a:solidFill>
                  <a:srgbClr val="000000"/>
                </a:solidFill>
                <a:latin typeface="Calibri Light" panose="020F0302020204030204" pitchFamily="34" charset="0"/>
                <a:ea typeface="Calibri Light" panose="020F0302020204030204" pitchFamily="34" charset="0"/>
              </a:rPr>
              <a:t>Understanding the key differences and considerations in execution and clearing approaches</a:t>
            </a:r>
          </a:p>
        </p:txBody>
      </p:sp>
      <p:cxnSp>
        <p:nvCxnSpPr>
          <p:cNvPr id="9" name="Straight Arrow Connector 8">
            <a:extLst>
              <a:ext uri="{FF2B5EF4-FFF2-40B4-BE49-F238E27FC236}">
                <a16:creationId xmlns:a16="http://schemas.microsoft.com/office/drawing/2014/main" id="{B3736788-B675-44EF-96B7-09178CCB10EF}"/>
              </a:ext>
            </a:extLst>
          </p:cNvPr>
          <p:cNvCxnSpPr>
            <a:cxnSpLocks/>
          </p:cNvCxnSpPr>
          <p:nvPr/>
        </p:nvCxnSpPr>
        <p:spPr>
          <a:xfrm flipV="1">
            <a:off x="4677424" y="4340243"/>
            <a:ext cx="0" cy="779498"/>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13" name="TextBox 12">
            <a:extLst>
              <a:ext uri="{FF2B5EF4-FFF2-40B4-BE49-F238E27FC236}">
                <a16:creationId xmlns:a16="http://schemas.microsoft.com/office/drawing/2014/main" id="{3D416442-0C15-CE49-CE51-774FAC56D519}"/>
              </a:ext>
            </a:extLst>
          </p:cNvPr>
          <p:cNvSpPr txBox="1"/>
          <p:nvPr/>
        </p:nvSpPr>
        <p:spPr>
          <a:xfrm>
            <a:off x="4323571" y="4555793"/>
            <a:ext cx="707707" cy="400110"/>
          </a:xfrm>
          <a:prstGeom prst="rect">
            <a:avLst/>
          </a:prstGeom>
          <a:solidFill>
            <a:sysClr val="window" lastClr="FFFFFF">
              <a:lumMod val="95000"/>
            </a:sysClr>
          </a:solid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eari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x</a:t>
            </a:r>
          </a:p>
        </p:txBody>
      </p:sp>
      <p:sp>
        <p:nvSpPr>
          <p:cNvPr id="14" name="TextBox 13">
            <a:extLst>
              <a:ext uri="{FF2B5EF4-FFF2-40B4-BE49-F238E27FC236}">
                <a16:creationId xmlns:a16="http://schemas.microsoft.com/office/drawing/2014/main" id="{1D99F6CB-BC36-A65A-DF04-0D681EFB2DAA}"/>
              </a:ext>
            </a:extLst>
          </p:cNvPr>
          <p:cNvSpPr txBox="1"/>
          <p:nvPr/>
        </p:nvSpPr>
        <p:spPr>
          <a:xfrm>
            <a:off x="4575399" y="4346966"/>
            <a:ext cx="205563" cy="227216"/>
          </a:xfrm>
          <a:prstGeom prst="flowChartConnector">
            <a:avLst/>
          </a:prstGeom>
          <a:solidFill>
            <a:srgbClr val="F2F2F2"/>
          </a:solidFill>
          <a:ln>
            <a:solidFill>
              <a:sysClr val="windowText" lastClr="000000"/>
            </a:solid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050" b="0" i="0" u="none" strike="noStrike" kern="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Tree>
    <p:extLst>
      <p:ext uri="{BB962C8B-B14F-4D97-AF65-F5344CB8AC3E}">
        <p14:creationId xmlns:p14="http://schemas.microsoft.com/office/powerpoint/2010/main" val="258406241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7B6FE-71A6-0B6F-CDE6-1F4B2D0283D3}"/>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21D2E374-0567-67D7-D101-C50D195D1415}"/>
              </a:ext>
            </a:extLst>
          </p:cNvPr>
          <p:cNvSpPr>
            <a:spLocks noGrp="1"/>
          </p:cNvSpPr>
          <p:nvPr>
            <p:ph type="title"/>
          </p:nvPr>
        </p:nvSpPr>
        <p:spPr>
          <a:xfrm>
            <a:off x="450000" y="345992"/>
            <a:ext cx="11304000" cy="342000"/>
          </a:xfrm>
        </p:spPr>
        <p:txBody>
          <a:bodyPr/>
          <a:lstStyle/>
          <a:p>
            <a:pPr>
              <a:spcBef>
                <a:spcPct val="0"/>
              </a:spcBef>
            </a:pPr>
            <a:r>
              <a:rPr lang="en-US" sz="2400" b="1"/>
              <a:t>Sponsored vs. ACS Model Comparison </a:t>
            </a:r>
          </a:p>
        </p:txBody>
      </p:sp>
      <p:graphicFrame>
        <p:nvGraphicFramePr>
          <p:cNvPr id="6" name="Table 5">
            <a:extLst>
              <a:ext uri="{FF2B5EF4-FFF2-40B4-BE49-F238E27FC236}">
                <a16:creationId xmlns:a16="http://schemas.microsoft.com/office/drawing/2014/main" id="{2F8C853F-1002-3002-D333-CDE5C6580480}"/>
              </a:ext>
            </a:extLst>
          </p:cNvPr>
          <p:cNvGraphicFramePr>
            <a:graphicFrameLocks noGrp="1"/>
          </p:cNvGraphicFramePr>
          <p:nvPr>
            <p:extLst>
              <p:ext uri="{D42A27DB-BD31-4B8C-83A1-F6EECF244321}">
                <p14:modId xmlns:p14="http://schemas.microsoft.com/office/powerpoint/2010/main" val="2176996804"/>
              </p:ext>
            </p:extLst>
          </p:nvPr>
        </p:nvGraphicFramePr>
        <p:xfrm>
          <a:off x="290512" y="1196760"/>
          <a:ext cx="11521440" cy="5087525"/>
        </p:xfrm>
        <a:graphic>
          <a:graphicData uri="http://schemas.openxmlformats.org/drawingml/2006/table">
            <a:tbl>
              <a:tblPr>
                <a:tableStyleId>{FABFCF23-3B69-468F-B69F-88F6DE6A72F2}</a:tableStyleId>
              </a:tblPr>
              <a:tblGrid>
                <a:gridCol w="1567164">
                  <a:extLst>
                    <a:ext uri="{9D8B030D-6E8A-4147-A177-3AD203B41FA5}">
                      <a16:colId xmlns:a16="http://schemas.microsoft.com/office/drawing/2014/main" val="1435606121"/>
                    </a:ext>
                  </a:extLst>
                </a:gridCol>
                <a:gridCol w="4977138">
                  <a:extLst>
                    <a:ext uri="{9D8B030D-6E8A-4147-A177-3AD203B41FA5}">
                      <a16:colId xmlns:a16="http://schemas.microsoft.com/office/drawing/2014/main" val="1718206251"/>
                    </a:ext>
                  </a:extLst>
                </a:gridCol>
                <a:gridCol w="4977138">
                  <a:extLst>
                    <a:ext uri="{9D8B030D-6E8A-4147-A177-3AD203B41FA5}">
                      <a16:colId xmlns:a16="http://schemas.microsoft.com/office/drawing/2014/main" val="3159844594"/>
                    </a:ext>
                  </a:extLst>
                </a:gridCol>
              </a:tblGrid>
              <a:tr h="293847">
                <a:tc>
                  <a:txBody>
                    <a:bodyPr/>
                    <a:lstStyle/>
                    <a:p>
                      <a:pPr algn="ctr"/>
                      <a:endParaRPr lang="en-US" b="1">
                        <a:solidFill>
                          <a:schemeClr val="bg1"/>
                        </a:solidFill>
                      </a:endParaRP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b="1">
                          <a:solidFill>
                            <a:schemeClr val="bg1"/>
                          </a:solidFill>
                        </a:rPr>
                        <a:t>Sponsored Service</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b="1">
                          <a:solidFill>
                            <a:schemeClr val="bg1"/>
                          </a:solidFill>
                        </a:rPr>
                        <a:t>Agent Clearing Service</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60325132"/>
                  </a:ext>
                </a:extLst>
              </a:tr>
              <a:tr h="542487">
                <a:tc>
                  <a:txBody>
                    <a:bodyPr/>
                    <a:lstStyle/>
                    <a:p>
                      <a:pPr algn="l">
                        <a:spcBef>
                          <a:spcPts val="0"/>
                        </a:spcBef>
                        <a:spcAft>
                          <a:spcPts val="0"/>
                        </a:spcAft>
                      </a:pPr>
                      <a:r>
                        <a:rPr lang="en-US" b="1"/>
                        <a:t>Entity Relationship</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3038" indent="-173038" algn="l">
                        <a:spcBef>
                          <a:spcPts val="0"/>
                        </a:spcBef>
                        <a:spcAft>
                          <a:spcPts val="0"/>
                        </a:spcAft>
                        <a:buFont typeface="Arial" panose="020B0604020202020204" pitchFamily="34" charset="0"/>
                        <a:buChar char="•"/>
                      </a:pPr>
                      <a:r>
                        <a:rPr lang="en-US" sz="1200"/>
                        <a:t>There is a contractual relationship between the Sponsored client, Sponsoring member, and FICC</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3038" indent="-173038" algn="l">
                        <a:spcBef>
                          <a:spcPts val="0"/>
                        </a:spcBef>
                        <a:spcAft>
                          <a:spcPts val="0"/>
                        </a:spcAft>
                        <a:buFont typeface="Arial" panose="020B0604020202020204" pitchFamily="34" charset="0"/>
                        <a:buChar char="•"/>
                      </a:pPr>
                      <a:r>
                        <a:rPr lang="en-US" sz="1200"/>
                        <a:t>The Agent Clearing Member (ACM) discloses their Executing Firm Customer (EFC) to the FICC, and tags every trade with the EFC’s Legal Entity Identifier (LEI)</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1534448225"/>
                  </a:ext>
                </a:extLst>
              </a:tr>
              <a:tr h="723316">
                <a:tc>
                  <a:txBody>
                    <a:bodyPr/>
                    <a:lstStyle/>
                    <a:p>
                      <a:pPr algn="l">
                        <a:spcBef>
                          <a:spcPts val="0"/>
                        </a:spcBef>
                        <a:spcAft>
                          <a:spcPts val="0"/>
                        </a:spcAft>
                      </a:pPr>
                      <a:r>
                        <a:rPr lang="en-US" b="1"/>
                        <a:t>Margin Calculation</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tcPr>
                </a:tc>
                <a:tc>
                  <a:txBody>
                    <a:bodyPr/>
                    <a:lstStyle/>
                    <a:p>
                      <a:pPr marL="173038" indent="-173038" algn="l">
                        <a:spcBef>
                          <a:spcPts val="0"/>
                        </a:spcBef>
                        <a:spcAft>
                          <a:spcPts val="0"/>
                        </a:spcAft>
                        <a:buFont typeface="Arial" panose="020B0604020202020204" pitchFamily="34" charset="0"/>
                        <a:buChar char="•"/>
                      </a:pPr>
                      <a:r>
                        <a:rPr lang="en-US" sz="1200"/>
                        <a:t>FICC calculates margin for the member’s account</a:t>
                      </a:r>
                    </a:p>
                    <a:p>
                      <a:pPr marL="173038" indent="-173038" algn="l">
                        <a:spcBef>
                          <a:spcPts val="0"/>
                        </a:spcBef>
                        <a:spcAft>
                          <a:spcPts val="0"/>
                        </a:spcAft>
                        <a:buFont typeface="Arial" panose="020B0604020202020204" pitchFamily="34" charset="0"/>
                        <a:buChar char="•"/>
                      </a:pPr>
                      <a:r>
                        <a:rPr lang="en-US" sz="1200"/>
                        <a:t>FICC calculates margin separately for each sponsored member </a:t>
                      </a:r>
                    </a:p>
                    <a:p>
                      <a:pPr marL="173038" indent="-173038" algn="l">
                        <a:spcBef>
                          <a:spcPts val="0"/>
                        </a:spcBef>
                        <a:spcAft>
                          <a:spcPts val="0"/>
                        </a:spcAft>
                        <a:buFont typeface="Arial" panose="020B0604020202020204" pitchFamily="34" charset="0"/>
                        <a:buChar char="•"/>
                      </a:pPr>
                      <a:r>
                        <a:rPr lang="en-US" sz="1200"/>
                        <a:t>The member posts both house margin and the aggregate of sponsored member margin using member asset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3038" indent="-173038" algn="l">
                        <a:spcBef>
                          <a:spcPts val="0"/>
                        </a:spcBef>
                        <a:spcAft>
                          <a:spcPts val="0"/>
                        </a:spcAft>
                        <a:buFont typeface="Arial" panose="020B0604020202020204" pitchFamily="34" charset="0"/>
                        <a:buChar char="•"/>
                      </a:pPr>
                      <a:r>
                        <a:rPr lang="en-US" sz="1200"/>
                        <a:t>FICC calculates margin for the member’s account</a:t>
                      </a:r>
                    </a:p>
                    <a:p>
                      <a:pPr marL="173038" indent="-173038" algn="l">
                        <a:spcBef>
                          <a:spcPts val="0"/>
                        </a:spcBef>
                        <a:spcAft>
                          <a:spcPts val="0"/>
                        </a:spcAft>
                        <a:buFont typeface="Arial" panose="020B0604020202020204" pitchFamily="34" charset="0"/>
                        <a:buChar char="•"/>
                      </a:pPr>
                      <a:r>
                        <a:rPr lang="en-US" sz="1200"/>
                        <a:t>FICC can calculate both net and/or gross margin in the ACS members client omnibus account </a:t>
                      </a:r>
                    </a:p>
                    <a:p>
                      <a:pPr marL="173038" indent="-173038" algn="l">
                        <a:spcBef>
                          <a:spcPts val="0"/>
                        </a:spcBef>
                        <a:spcAft>
                          <a:spcPts val="0"/>
                        </a:spcAft>
                        <a:buFont typeface="Arial" panose="020B0604020202020204" pitchFamily="34" charset="0"/>
                        <a:buChar char="•"/>
                      </a:pPr>
                      <a:r>
                        <a:rPr lang="en-US" sz="1200"/>
                        <a:t>The member posts both house margin and the net client margin using member asset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136958586"/>
                  </a:ext>
                </a:extLst>
              </a:tr>
              <a:tr h="723316">
                <a:tc>
                  <a:txBody>
                    <a:bodyPr/>
                    <a:lstStyle/>
                    <a:p>
                      <a:pPr algn="l">
                        <a:spcBef>
                          <a:spcPts val="0"/>
                        </a:spcBef>
                        <a:spcAft>
                          <a:spcPts val="0"/>
                        </a:spcAft>
                      </a:pPr>
                      <a:r>
                        <a:rPr lang="en-US" b="1"/>
                        <a:t>Client Segregation</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tcPr>
                </a:tc>
                <a:tc>
                  <a:txBody>
                    <a:bodyPr/>
                    <a:lstStyle/>
                    <a:p>
                      <a:pPr marL="173038" indent="-173038" algn="l">
                        <a:spcBef>
                          <a:spcPts val="0"/>
                        </a:spcBef>
                        <a:spcAft>
                          <a:spcPts val="0"/>
                        </a:spcAft>
                        <a:buFont typeface="Arial" panose="020B0604020202020204" pitchFamily="34" charset="0"/>
                        <a:buChar char="•"/>
                      </a:pPr>
                      <a:r>
                        <a:rPr lang="en-US" sz="1200"/>
                        <a:t>Segregation is available, which allows the Sponsoring member to collect margin from the Sponsored member and post client assets as margin to the FICC</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3038" marR="0" lvl="0" indent="-17303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Segregation is available, which separates the client’s positions for a gross margin calculation</a:t>
                      </a:r>
                    </a:p>
                    <a:p>
                      <a:pPr marL="173038" marR="0" lvl="0" indent="-17303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e ACM can collect margin from the client and post client assets as margin to the FICC</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268688726"/>
                  </a:ext>
                </a:extLst>
              </a:tr>
              <a:tr h="904145">
                <a:tc>
                  <a:txBody>
                    <a:bodyPr/>
                    <a:lstStyle/>
                    <a:p>
                      <a:pPr algn="l">
                        <a:spcBef>
                          <a:spcPts val="0"/>
                        </a:spcBef>
                        <a:spcAft>
                          <a:spcPts val="0"/>
                        </a:spcAft>
                      </a:pPr>
                      <a:r>
                        <a:rPr lang="en-US" b="1"/>
                        <a:t>Default of FICC Member firm</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tcPr>
                </a:tc>
                <a:tc>
                  <a:txBody>
                    <a:bodyPr/>
                    <a:lstStyle/>
                    <a:p>
                      <a:pPr marL="171450" indent="-171450" algn="l">
                        <a:spcBef>
                          <a:spcPts val="0"/>
                        </a:spcBef>
                        <a:spcAft>
                          <a:spcPts val="0"/>
                        </a:spcAft>
                        <a:buFont typeface="Arial" panose="020B0604020202020204" pitchFamily="34" charset="0"/>
                        <a:buChar char="•"/>
                      </a:pPr>
                      <a:r>
                        <a:rPr lang="en-US" sz="1200"/>
                        <a:t>FICC has the option to Terminate or Settle the trades of the Sponsored member.</a:t>
                      </a:r>
                    </a:p>
                    <a:p>
                      <a:pPr marL="171450" indent="-171450" algn="l">
                        <a:spcBef>
                          <a:spcPts val="0"/>
                        </a:spcBef>
                        <a:spcAft>
                          <a:spcPts val="0"/>
                        </a:spcAft>
                        <a:buFont typeface="Arial" panose="020B0604020202020204" pitchFamily="34" charset="0"/>
                        <a:buChar char="•"/>
                      </a:pPr>
                      <a:r>
                        <a:rPr lang="en-US" sz="1200"/>
                        <a:t>Proposed rule change porting of client assets to another member firm</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1450" indent="-171450" algn="l">
                        <a:spcBef>
                          <a:spcPts val="0"/>
                        </a:spcBef>
                        <a:spcAft>
                          <a:spcPts val="0"/>
                        </a:spcAft>
                        <a:buFont typeface="Arial" panose="020B0604020202020204" pitchFamily="34" charset="0"/>
                        <a:buChar char="•"/>
                      </a:pPr>
                      <a:r>
                        <a:rPr lang="en-US" sz="1200"/>
                        <a:t>FICC will terminate open EFC transactions as per the FICC procedures</a:t>
                      </a:r>
                    </a:p>
                    <a:p>
                      <a:pPr marL="171450" indent="-171450" algn="l">
                        <a:spcBef>
                          <a:spcPts val="0"/>
                        </a:spcBef>
                        <a:spcAft>
                          <a:spcPts val="0"/>
                        </a:spcAft>
                        <a:buFont typeface="Arial" panose="020B0604020202020204" pitchFamily="34" charset="0"/>
                        <a:buChar char="•"/>
                      </a:pPr>
                      <a:r>
                        <a:rPr lang="en-US" sz="1200"/>
                        <a:t>Proposed rule change to provide the option to Settle transactions or Port client asset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1476046120"/>
                  </a:ext>
                </a:extLst>
              </a:tr>
              <a:tr h="513535">
                <a:tc>
                  <a:txBody>
                    <a:bodyPr/>
                    <a:lstStyle/>
                    <a:p>
                      <a:pPr algn="l">
                        <a:spcBef>
                          <a:spcPts val="0"/>
                        </a:spcBef>
                        <a:spcAft>
                          <a:spcPts val="0"/>
                        </a:spcAft>
                      </a:pPr>
                      <a:r>
                        <a:rPr lang="en-US" b="1"/>
                        <a:t>Cleared Triparty</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tcPr>
                </a:tc>
                <a:tc>
                  <a:txBody>
                    <a:bodyPr/>
                    <a:lstStyle/>
                    <a:p>
                      <a:pPr marL="171450" indent="-171450" algn="l">
                        <a:spcBef>
                          <a:spcPts val="0"/>
                        </a:spcBef>
                        <a:spcAft>
                          <a:spcPts val="0"/>
                        </a:spcAft>
                        <a:buFont typeface="Arial" panose="020B0604020202020204" pitchFamily="34" charset="0"/>
                        <a:buChar char="•"/>
                      </a:pPr>
                      <a:r>
                        <a:rPr lang="en-US" sz="1200"/>
                        <a:t>Available under FICC’s Sponsored General Collateral program</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1450" indent="-171450" algn="l">
                        <a:spcBef>
                          <a:spcPts val="0"/>
                        </a:spcBef>
                        <a:spcAft>
                          <a:spcPts val="0"/>
                        </a:spcAft>
                        <a:buFont typeface="Arial" panose="020B0604020202020204" pitchFamily="34" charset="0"/>
                        <a:buChar char="•"/>
                      </a:pPr>
                      <a:r>
                        <a:rPr lang="en-US" sz="1200"/>
                        <a:t>Proposed rule change to be available under FICC’s proposed ACM Triparty Service</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033086955"/>
                  </a:ext>
                </a:extLst>
              </a:tr>
              <a:tr h="548640">
                <a:tc>
                  <a:txBody>
                    <a:bodyPr/>
                    <a:lstStyle/>
                    <a:p>
                      <a:pPr algn="l">
                        <a:spcBef>
                          <a:spcPts val="0"/>
                        </a:spcBef>
                        <a:spcAft>
                          <a:spcPts val="0"/>
                        </a:spcAft>
                      </a:pPr>
                      <a:r>
                        <a:rPr lang="en-US" b="1"/>
                        <a:t>Done With vs. Done Away</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tcPr>
                </a:tc>
                <a:tc gridSpan="2">
                  <a:txBody>
                    <a:bodyPr/>
                    <a:lstStyle/>
                    <a:p>
                      <a:pPr marL="342900" lvl="1" indent="0" algn="ctr">
                        <a:spcBef>
                          <a:spcPts val="0"/>
                        </a:spcBef>
                        <a:spcAft>
                          <a:spcPts val="0"/>
                        </a:spcAft>
                        <a:buFont typeface="Arial" panose="020B0604020202020204" pitchFamily="34" charset="0"/>
                        <a:buNone/>
                      </a:pPr>
                      <a:r>
                        <a:rPr lang="en-US" sz="1200"/>
                        <a:t>Both Sponsored and ACM access models support done with and done away trading</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hMerge="1">
                  <a:txBody>
                    <a:bodyPr/>
                    <a:lstStyle/>
                    <a:p>
                      <a:pPr marL="171450" indent="-171450" algn="l">
                        <a:spcBef>
                          <a:spcPts val="0"/>
                        </a:spcBef>
                        <a:spcAft>
                          <a:spcPts val="0"/>
                        </a:spcAft>
                        <a:buFont typeface="Arial" panose="020B0604020202020204" pitchFamily="34" charset="0"/>
                        <a:buChar char="•"/>
                      </a:pPr>
                      <a:endParaRPr lang="en-US" sz="1200"/>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125015807"/>
                  </a:ext>
                </a:extLst>
              </a:tr>
            </a:tbl>
          </a:graphicData>
        </a:graphic>
      </p:graphicFrame>
      <p:sp>
        <p:nvSpPr>
          <p:cNvPr id="2" name="Text Placeholder 32">
            <a:extLst>
              <a:ext uri="{FF2B5EF4-FFF2-40B4-BE49-F238E27FC236}">
                <a16:creationId xmlns:a16="http://schemas.microsoft.com/office/drawing/2014/main" id="{43E215A7-CCD1-2663-29ED-56AB7380B9F0}"/>
              </a:ext>
            </a:extLst>
          </p:cNvPr>
          <p:cNvSpPr>
            <a:spLocks noGrp="1"/>
          </p:cNvSpPr>
          <p:nvPr>
            <p:ph type="body" sz="quarter" idx="13"/>
          </p:nvPr>
        </p:nvSpPr>
        <p:spPr>
          <a:xfrm>
            <a:off x="450000" y="684000"/>
            <a:ext cx="11304000" cy="757255"/>
          </a:xfrm>
        </p:spPr>
        <p:txBody>
          <a:bodyPr/>
          <a:lstStyle/>
          <a:p>
            <a:r>
              <a:rPr lang="en-US" sz="1600">
                <a:solidFill>
                  <a:srgbClr val="000000"/>
                </a:solidFill>
                <a:latin typeface="Calibri Light" panose="020F0302020204030204" pitchFamily="34" charset="0"/>
                <a:ea typeface="Calibri Light" panose="020F0302020204030204" pitchFamily="34" charset="0"/>
              </a:rPr>
              <a:t>The Sponsored and ACS models, while supportive of similar trade activity, are different in the relationship with the FICC.</a:t>
            </a:r>
          </a:p>
        </p:txBody>
      </p:sp>
    </p:spTree>
    <p:extLst>
      <p:ext uri="{BB962C8B-B14F-4D97-AF65-F5344CB8AC3E}">
        <p14:creationId xmlns:p14="http://schemas.microsoft.com/office/powerpoint/2010/main" val="284305985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5AAFE-6DFC-CEB7-211E-1724CD5C560C}"/>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F4791170-67C3-5748-4FCF-C2B1FF63F2CC}"/>
              </a:ext>
            </a:extLst>
          </p:cNvPr>
          <p:cNvSpPr>
            <a:spLocks noGrp="1"/>
          </p:cNvSpPr>
          <p:nvPr>
            <p:ph type="title"/>
          </p:nvPr>
        </p:nvSpPr>
        <p:spPr>
          <a:xfrm>
            <a:off x="450000" y="345992"/>
            <a:ext cx="11304000" cy="342000"/>
          </a:xfrm>
        </p:spPr>
        <p:txBody>
          <a:bodyPr/>
          <a:lstStyle/>
          <a:p>
            <a:pPr>
              <a:spcBef>
                <a:spcPct val="0"/>
              </a:spcBef>
            </a:pPr>
            <a:r>
              <a:rPr lang="en-US" sz="2400" b="1"/>
              <a:t>General Considerations For Determining which Clearing model to use</a:t>
            </a:r>
          </a:p>
        </p:txBody>
      </p:sp>
      <p:graphicFrame>
        <p:nvGraphicFramePr>
          <p:cNvPr id="6" name="Table 5">
            <a:extLst>
              <a:ext uri="{FF2B5EF4-FFF2-40B4-BE49-F238E27FC236}">
                <a16:creationId xmlns:a16="http://schemas.microsoft.com/office/drawing/2014/main" id="{8158C319-523C-696B-DB4E-95FA0BFF3D1C}"/>
              </a:ext>
            </a:extLst>
          </p:cNvPr>
          <p:cNvGraphicFramePr>
            <a:graphicFrameLocks noGrp="1"/>
          </p:cNvGraphicFramePr>
          <p:nvPr>
            <p:extLst>
              <p:ext uri="{D42A27DB-BD31-4B8C-83A1-F6EECF244321}">
                <p14:modId xmlns:p14="http://schemas.microsoft.com/office/powerpoint/2010/main" val="2146022450"/>
              </p:ext>
            </p:extLst>
          </p:nvPr>
        </p:nvGraphicFramePr>
        <p:xfrm>
          <a:off x="290512" y="1197864"/>
          <a:ext cx="11521440" cy="4450080"/>
        </p:xfrm>
        <a:graphic>
          <a:graphicData uri="http://schemas.openxmlformats.org/drawingml/2006/table">
            <a:tbl>
              <a:tblPr>
                <a:tableStyleId>{FABFCF23-3B69-468F-B69F-88F6DE6A72F2}</a:tableStyleId>
              </a:tblPr>
              <a:tblGrid>
                <a:gridCol w="2743200">
                  <a:extLst>
                    <a:ext uri="{9D8B030D-6E8A-4147-A177-3AD203B41FA5}">
                      <a16:colId xmlns:a16="http://schemas.microsoft.com/office/drawing/2014/main" val="1435606121"/>
                    </a:ext>
                  </a:extLst>
                </a:gridCol>
                <a:gridCol w="4389120">
                  <a:extLst>
                    <a:ext uri="{9D8B030D-6E8A-4147-A177-3AD203B41FA5}">
                      <a16:colId xmlns:a16="http://schemas.microsoft.com/office/drawing/2014/main" val="927269490"/>
                    </a:ext>
                  </a:extLst>
                </a:gridCol>
                <a:gridCol w="4389120">
                  <a:extLst>
                    <a:ext uri="{9D8B030D-6E8A-4147-A177-3AD203B41FA5}">
                      <a16:colId xmlns:a16="http://schemas.microsoft.com/office/drawing/2014/main" val="1269119748"/>
                    </a:ext>
                  </a:extLst>
                </a:gridCol>
              </a:tblGrid>
              <a:tr h="215390">
                <a:tc>
                  <a:txBody>
                    <a:bodyPr/>
                    <a:lstStyle/>
                    <a:p>
                      <a:pPr algn="ctr"/>
                      <a:r>
                        <a:rPr lang="en-US" sz="1400" b="1">
                          <a:solidFill>
                            <a:schemeClr val="bg1"/>
                          </a:solidFill>
                        </a:rPr>
                        <a:t>Consideration</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sz="1400" b="1">
                          <a:solidFill>
                            <a:schemeClr val="bg1"/>
                          </a:solidFill>
                        </a:rPr>
                        <a:t>Detail</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sz="1400" b="1">
                          <a:solidFill>
                            <a:schemeClr val="bg1"/>
                          </a:solidFill>
                        </a:rPr>
                        <a:t>Potential Solution</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60325132"/>
                  </a:ext>
                </a:extLst>
              </a:tr>
              <a:tr h="542487">
                <a:tc>
                  <a:txBody>
                    <a:bodyPr/>
                    <a:lstStyle/>
                    <a:p>
                      <a:pPr algn="l">
                        <a:spcBef>
                          <a:spcPts val="0"/>
                        </a:spcBef>
                        <a:spcAft>
                          <a:spcPts val="0"/>
                        </a:spcAft>
                      </a:pPr>
                      <a:r>
                        <a:rPr lang="en-US" sz="1400" b="1"/>
                        <a:t>Margin Optimization and Cross Margining w/ CME</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The more clearing brokers that you have, the less risk reduction in your portfolio</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There is a potential reduction for FICC &amp; CME margin expected to be available to the clients of clearing member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Need to be strategic about how your repo portfolio is spread across your clearing brokers</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Segregated accounts at FICC will be required to benefit from the FICC / CME cross margin netting</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1534448225"/>
                  </a:ext>
                </a:extLst>
              </a:tr>
              <a:tr h="723316">
                <a:tc>
                  <a:txBody>
                    <a:bodyPr/>
                    <a:lstStyle/>
                    <a:p>
                      <a:pPr algn="l">
                        <a:spcBef>
                          <a:spcPts val="0"/>
                        </a:spcBef>
                        <a:spcAft>
                          <a:spcPts val="0"/>
                        </a:spcAft>
                      </a:pPr>
                      <a:r>
                        <a:rPr lang="en-US" sz="1400" b="1"/>
                        <a:t>Counterparty Diversity</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tcPr>
                </a:tc>
                <a:tc>
                  <a:txBody>
                    <a:bodyPr/>
                    <a:lstStyle/>
                    <a:p>
                      <a:pPr marL="173038" indent="-173038" algn="l">
                        <a:spcBef>
                          <a:spcPts val="0"/>
                        </a:spcBef>
                        <a:spcAft>
                          <a:spcPts val="0"/>
                        </a:spcAft>
                        <a:buFont typeface="Arial" panose="020B0604020202020204" pitchFamily="34" charset="0"/>
                        <a:buChar char="•"/>
                      </a:pPr>
                      <a:r>
                        <a:rPr lang="en-US" sz="1400"/>
                        <a:t>Certain buy-side clients may have a large roster of repo counterparties and executing brokers</a:t>
                      </a:r>
                    </a:p>
                    <a:p>
                      <a:pPr marL="173038" indent="-173038" algn="l">
                        <a:spcBef>
                          <a:spcPts val="0"/>
                        </a:spcBef>
                        <a:spcAft>
                          <a:spcPts val="0"/>
                        </a:spcAft>
                        <a:buFont typeface="Arial" panose="020B0604020202020204" pitchFamily="34" charset="0"/>
                        <a:buChar char="•"/>
                      </a:pPr>
                      <a:r>
                        <a:rPr lang="en-US" sz="1400"/>
                        <a:t>Firms may be forced to narrow their counterparties, or find clearing brokers who will clear done-away activity</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3038" indent="-173038" algn="l">
                        <a:spcBef>
                          <a:spcPts val="0"/>
                        </a:spcBef>
                        <a:spcAft>
                          <a:spcPts val="0"/>
                        </a:spcAft>
                        <a:buFont typeface="Arial" panose="020B0604020202020204" pitchFamily="34" charset="0"/>
                        <a:buChar char="•"/>
                      </a:pPr>
                      <a:r>
                        <a:rPr lang="en-US" sz="1400"/>
                        <a:t>ACS has an established done away clearing market for Cash Trading</a:t>
                      </a:r>
                    </a:p>
                    <a:p>
                      <a:pPr marL="173038" indent="-173038" algn="l">
                        <a:spcBef>
                          <a:spcPts val="0"/>
                        </a:spcBef>
                        <a:spcAft>
                          <a:spcPts val="0"/>
                        </a:spcAft>
                        <a:buFont typeface="Arial" panose="020B0604020202020204" pitchFamily="34" charset="0"/>
                        <a:buChar char="•"/>
                      </a:pPr>
                      <a:r>
                        <a:rPr lang="en-US" sz="1400"/>
                        <a:t>Done Away also supported via Sponsored Access but rarely used by client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136958586"/>
                  </a:ext>
                </a:extLst>
              </a:tr>
              <a:tr h="542487">
                <a:tc>
                  <a:txBody>
                    <a:bodyPr/>
                    <a:lstStyle/>
                    <a:p>
                      <a:pPr algn="l">
                        <a:spcBef>
                          <a:spcPts val="0"/>
                        </a:spcBef>
                        <a:spcAft>
                          <a:spcPts val="0"/>
                        </a:spcAft>
                      </a:pPr>
                      <a:r>
                        <a:rPr lang="en-US" sz="1400" b="1"/>
                        <a:t>Pricing Sensitivity</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Clearing brokers will establish fees based on their costs, such as CCA margin requirements and balance sheet utilization</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Working with your clearing brokers to find the optimal clearing model may help keep fees lower</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ACS requires net margin across all clients, as compared to gross for Sponsored</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1590635987"/>
                  </a:ext>
                </a:extLst>
              </a:tr>
              <a:tr h="542487">
                <a:tc>
                  <a:txBody>
                    <a:bodyPr/>
                    <a:lstStyle/>
                    <a:p>
                      <a:pPr algn="l">
                        <a:spcBef>
                          <a:spcPts val="0"/>
                        </a:spcBef>
                        <a:spcAft>
                          <a:spcPts val="0"/>
                        </a:spcAft>
                      </a:pPr>
                      <a:r>
                        <a:rPr lang="en-US" sz="1400" b="1"/>
                        <a:t>Ability to Post Clearing Agency Margin &amp; Pay Fee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tcPr>
                </a:tc>
                <a:tc>
                  <a:txBody>
                    <a:bodyPr/>
                    <a:lstStyle/>
                    <a:p>
                      <a:pPr marL="173038" indent="-173038" algn="l">
                        <a:spcBef>
                          <a:spcPts val="0"/>
                        </a:spcBef>
                        <a:spcAft>
                          <a:spcPts val="0"/>
                        </a:spcAft>
                        <a:buFont typeface="Arial" panose="020B0604020202020204" pitchFamily="34" charset="0"/>
                        <a:buChar char="•"/>
                      </a:pPr>
                      <a:r>
                        <a:rPr lang="en-US" sz="1400"/>
                        <a:t>Regulatory requirements limit certain categories of market participants from posting margin and paying fees to certain types of custodian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173038" indent="-173038" algn="l">
                        <a:spcBef>
                          <a:spcPts val="0"/>
                        </a:spcBef>
                        <a:spcAft>
                          <a:spcPts val="0"/>
                        </a:spcAft>
                        <a:buFont typeface="Arial" panose="020B0604020202020204" pitchFamily="34" charset="0"/>
                        <a:buChar char="•"/>
                      </a:pPr>
                      <a:r>
                        <a:rPr lang="en-US" sz="1400"/>
                        <a:t>Usage of FICC’s Collateral-in-Lieu service to maintain position at a qualified custodian in comment phase</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548428898"/>
                  </a:ext>
                </a:extLst>
              </a:tr>
            </a:tbl>
          </a:graphicData>
        </a:graphic>
      </p:graphicFrame>
      <p:sp>
        <p:nvSpPr>
          <p:cNvPr id="2" name="Text Placeholder 32">
            <a:extLst>
              <a:ext uri="{FF2B5EF4-FFF2-40B4-BE49-F238E27FC236}">
                <a16:creationId xmlns:a16="http://schemas.microsoft.com/office/drawing/2014/main" id="{30834EB4-1863-3954-980E-D952452C9BF0}"/>
              </a:ext>
            </a:extLst>
          </p:cNvPr>
          <p:cNvSpPr>
            <a:spLocks noGrp="1"/>
          </p:cNvSpPr>
          <p:nvPr>
            <p:ph type="body" sz="quarter" idx="13"/>
          </p:nvPr>
        </p:nvSpPr>
        <p:spPr>
          <a:xfrm>
            <a:off x="450000" y="684000"/>
            <a:ext cx="11304000" cy="757255"/>
          </a:xfrm>
        </p:spPr>
        <p:txBody>
          <a:bodyPr/>
          <a:lstStyle/>
          <a:p>
            <a:r>
              <a:rPr lang="en-US" sz="1600">
                <a:solidFill>
                  <a:srgbClr val="000000"/>
                </a:solidFill>
                <a:latin typeface="Calibri Light" panose="020F0302020204030204" pitchFamily="34" charset="0"/>
                <a:ea typeface="Calibri Light" panose="020F0302020204030204" pitchFamily="34" charset="0"/>
              </a:rPr>
              <a:t>Choosing a provider and clearing model will depend on the needs of each individual firm with certain considerations driving specific decisions</a:t>
            </a:r>
          </a:p>
        </p:txBody>
      </p:sp>
    </p:spTree>
    <p:extLst>
      <p:ext uri="{BB962C8B-B14F-4D97-AF65-F5344CB8AC3E}">
        <p14:creationId xmlns:p14="http://schemas.microsoft.com/office/powerpoint/2010/main" val="27634081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E0EB66-D23C-7809-17CA-2E1B065B6CDD}"/>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C45061E-B3C5-2D0F-322E-7FBEBBC2315D}"/>
              </a:ext>
            </a:extLst>
          </p:cNvPr>
          <p:cNvSpPr/>
          <p:nvPr/>
        </p:nvSpPr>
        <p:spPr bwMode="gray">
          <a:xfrm>
            <a:off x="0" y="5219700"/>
            <a:ext cx="12192000" cy="1225633"/>
          </a:xfrm>
          <a:prstGeom prst="roundRect">
            <a:avLst/>
          </a:prstGeom>
          <a:solidFill>
            <a:schemeClr val="tx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1">
            <a:extLst>
              <a:ext uri="{FF2B5EF4-FFF2-40B4-BE49-F238E27FC236}">
                <a16:creationId xmlns:a16="http://schemas.microsoft.com/office/drawing/2014/main" id="{2855C8B5-3E22-1FA7-E692-49EB52B511EC}"/>
              </a:ext>
            </a:extLst>
          </p:cNvPr>
          <p:cNvSpPr>
            <a:spLocks noGrp="1"/>
          </p:cNvSpPr>
          <p:nvPr>
            <p:ph type="title"/>
          </p:nvPr>
        </p:nvSpPr>
        <p:spPr>
          <a:xfrm>
            <a:off x="450000" y="345992"/>
            <a:ext cx="11304000" cy="342000"/>
          </a:xfrm>
        </p:spPr>
        <p:txBody>
          <a:bodyPr/>
          <a:lstStyle/>
          <a:p>
            <a:pPr>
              <a:spcBef>
                <a:spcPct val="0"/>
              </a:spcBef>
            </a:pPr>
            <a:r>
              <a:rPr lang="en-US" sz="2400" b="1"/>
              <a:t>FICC Margin Considerations by Access Model</a:t>
            </a:r>
          </a:p>
        </p:txBody>
      </p:sp>
      <p:graphicFrame>
        <p:nvGraphicFramePr>
          <p:cNvPr id="6" name="Table 5">
            <a:extLst>
              <a:ext uri="{FF2B5EF4-FFF2-40B4-BE49-F238E27FC236}">
                <a16:creationId xmlns:a16="http://schemas.microsoft.com/office/drawing/2014/main" id="{A4A3FA6E-5B83-2AB2-E7EE-74277D4DA703}"/>
              </a:ext>
            </a:extLst>
          </p:cNvPr>
          <p:cNvGraphicFramePr>
            <a:graphicFrameLocks noGrp="1"/>
          </p:cNvGraphicFramePr>
          <p:nvPr>
            <p:extLst>
              <p:ext uri="{D42A27DB-BD31-4B8C-83A1-F6EECF244321}">
                <p14:modId xmlns:p14="http://schemas.microsoft.com/office/powerpoint/2010/main" val="2427933464"/>
              </p:ext>
            </p:extLst>
          </p:nvPr>
        </p:nvGraphicFramePr>
        <p:xfrm>
          <a:off x="450000" y="1343268"/>
          <a:ext cx="11338558" cy="3680316"/>
        </p:xfrm>
        <a:graphic>
          <a:graphicData uri="http://schemas.openxmlformats.org/drawingml/2006/table">
            <a:tbl>
              <a:tblPr>
                <a:tableStyleId>{FABFCF23-3B69-468F-B69F-88F6DE6A72F2}</a:tableStyleId>
              </a:tblPr>
              <a:tblGrid>
                <a:gridCol w="1619794">
                  <a:extLst>
                    <a:ext uri="{9D8B030D-6E8A-4147-A177-3AD203B41FA5}">
                      <a16:colId xmlns:a16="http://schemas.microsoft.com/office/drawing/2014/main" val="1435606121"/>
                    </a:ext>
                  </a:extLst>
                </a:gridCol>
                <a:gridCol w="1619794">
                  <a:extLst>
                    <a:ext uri="{9D8B030D-6E8A-4147-A177-3AD203B41FA5}">
                      <a16:colId xmlns:a16="http://schemas.microsoft.com/office/drawing/2014/main" val="1718206251"/>
                    </a:ext>
                  </a:extLst>
                </a:gridCol>
                <a:gridCol w="1619794">
                  <a:extLst>
                    <a:ext uri="{9D8B030D-6E8A-4147-A177-3AD203B41FA5}">
                      <a16:colId xmlns:a16="http://schemas.microsoft.com/office/drawing/2014/main" val="3159844594"/>
                    </a:ext>
                  </a:extLst>
                </a:gridCol>
                <a:gridCol w="1619794">
                  <a:extLst>
                    <a:ext uri="{9D8B030D-6E8A-4147-A177-3AD203B41FA5}">
                      <a16:colId xmlns:a16="http://schemas.microsoft.com/office/drawing/2014/main" val="4111618737"/>
                    </a:ext>
                  </a:extLst>
                </a:gridCol>
                <a:gridCol w="1619794">
                  <a:extLst>
                    <a:ext uri="{9D8B030D-6E8A-4147-A177-3AD203B41FA5}">
                      <a16:colId xmlns:a16="http://schemas.microsoft.com/office/drawing/2014/main" val="964280253"/>
                    </a:ext>
                  </a:extLst>
                </a:gridCol>
                <a:gridCol w="1619794">
                  <a:extLst>
                    <a:ext uri="{9D8B030D-6E8A-4147-A177-3AD203B41FA5}">
                      <a16:colId xmlns:a16="http://schemas.microsoft.com/office/drawing/2014/main" val="1953133834"/>
                    </a:ext>
                  </a:extLst>
                </a:gridCol>
                <a:gridCol w="1619794">
                  <a:extLst>
                    <a:ext uri="{9D8B030D-6E8A-4147-A177-3AD203B41FA5}">
                      <a16:colId xmlns:a16="http://schemas.microsoft.com/office/drawing/2014/main" val="1929763304"/>
                    </a:ext>
                  </a:extLst>
                </a:gridCol>
              </a:tblGrid>
              <a:tr h="571279">
                <a:tc>
                  <a:txBody>
                    <a:bodyPr/>
                    <a:lstStyle/>
                    <a:p>
                      <a:pPr algn="ctr"/>
                      <a:r>
                        <a:rPr lang="en-US" b="1">
                          <a:solidFill>
                            <a:schemeClr val="bg1"/>
                          </a:solidFill>
                        </a:rPr>
                        <a:t>Membership</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b="1">
                          <a:solidFill>
                            <a:schemeClr val="bg1"/>
                          </a:solidFill>
                        </a:rPr>
                        <a:t>Model</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b="1">
                          <a:solidFill>
                            <a:schemeClr val="bg1"/>
                          </a:solidFill>
                        </a:rPr>
                        <a:t>Segregation Model</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b="1">
                          <a:solidFill>
                            <a:schemeClr val="bg1"/>
                          </a:solidFill>
                        </a:rPr>
                        <a:t>Margin Method</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b="1">
                          <a:solidFill>
                            <a:schemeClr val="bg1"/>
                          </a:solidFill>
                        </a:rPr>
                        <a:t>Account at FICC</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b="1">
                          <a:solidFill>
                            <a:schemeClr val="bg1"/>
                          </a:solidFill>
                        </a:rPr>
                        <a:t>Minimum Segregated Margin</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tc>
                  <a:txBody>
                    <a:bodyPr/>
                    <a:lstStyle/>
                    <a:p>
                      <a:pPr algn="ctr"/>
                      <a:r>
                        <a:rPr lang="en-US" b="1">
                          <a:solidFill>
                            <a:schemeClr val="bg1"/>
                          </a:solidFill>
                        </a:rPr>
                        <a:t>Margin Asset Categorization</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60325132"/>
                  </a:ext>
                </a:extLst>
              </a:tr>
              <a:tr h="525857">
                <a:tc rowSpan="4">
                  <a:txBody>
                    <a:bodyPr/>
                    <a:lstStyle/>
                    <a:p>
                      <a:pPr algn="ctr">
                        <a:spcBef>
                          <a:spcPts val="0"/>
                        </a:spcBef>
                        <a:spcAft>
                          <a:spcPts val="0"/>
                        </a:spcAft>
                      </a:pPr>
                      <a:r>
                        <a:rPr lang="en-US"/>
                        <a:t>Indirec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tcPr>
                </a:tc>
                <a:tc rowSpan="2">
                  <a:txBody>
                    <a:bodyPr/>
                    <a:lstStyle/>
                    <a:p>
                      <a:pPr algn="ctr">
                        <a:spcBef>
                          <a:spcPts val="0"/>
                        </a:spcBef>
                        <a:spcAft>
                          <a:spcPts val="0"/>
                        </a:spcAft>
                      </a:pPr>
                      <a:r>
                        <a:rPr lang="en-US"/>
                        <a:t>Sponsored</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Segregated</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Gross margin</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Sponsored Segregated Client Accoun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1 million per accoun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Client Asset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136958586"/>
                  </a:ext>
                </a:extLst>
              </a:tr>
              <a:tr h="525857">
                <a:tc vMerge="1">
                  <a:txBody>
                    <a:bodyPr/>
                    <a:lstStyle/>
                    <a:p>
                      <a:endParaRPr/>
                    </a:p>
                  </a:txBody>
                  <a:tcPr marT="91440" marB="91440"/>
                </a:tc>
                <a:tc vMerge="1">
                  <a:txBody>
                    <a:bodyPr/>
                    <a:lstStyle/>
                    <a:p>
                      <a:endParaRPr/>
                    </a:p>
                  </a:txBody>
                  <a:tcPr marT="91440" marB="91440">
                    <a:lnR w="12700" cap="flat" cmpd="sng" algn="ctr">
                      <a:solidFill>
                        <a:srgbClr val="6FC2B4"/>
                      </a:solidFill>
                      <a:prstDash val="solid"/>
                      <a:round/>
                      <a:headEnd type="none" w="med" len="med"/>
                      <a:tailEnd type="none" w="med" len="med"/>
                    </a:lnR>
                  </a:tcPr>
                </a:tc>
                <a:tc>
                  <a:txBody>
                    <a:bodyPr/>
                    <a:lstStyle/>
                    <a:p>
                      <a:pPr algn="ctr">
                        <a:spcBef>
                          <a:spcPts val="0"/>
                        </a:spcBef>
                        <a:spcAft>
                          <a:spcPts val="0"/>
                        </a:spcAft>
                      </a:pPr>
                      <a:r>
                        <a:rPr lang="en-US"/>
                        <a:t>Non-Segregated</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Gross margin</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Sponsored Omnibus</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a:t>Client Accoun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None</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Member Asset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1476046120"/>
                  </a:ext>
                </a:extLst>
              </a:tr>
              <a:tr h="525857">
                <a:tc vMerge="1">
                  <a:txBody>
                    <a:bodyPr/>
                    <a:lstStyle/>
                    <a:p>
                      <a:endParaRPr/>
                    </a:p>
                  </a:txBody>
                  <a:tcPr marT="91440" marB="91440">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rowSpan="2">
                  <a:txBody>
                    <a:bodyPr/>
                    <a:lstStyle/>
                    <a:p>
                      <a:pPr algn="ctr">
                        <a:spcBef>
                          <a:spcPts val="0"/>
                        </a:spcBef>
                        <a:spcAft>
                          <a:spcPts val="0"/>
                        </a:spcAft>
                      </a:pPr>
                      <a:r>
                        <a:rPr lang="en-US"/>
                        <a:t>Agent Clearing</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Segregated</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Gross margin</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ACM Segregated</a:t>
                      </a:r>
                    </a:p>
                    <a:p>
                      <a:pPr algn="ctr">
                        <a:spcBef>
                          <a:spcPts val="0"/>
                        </a:spcBef>
                        <a:spcAft>
                          <a:spcPts val="0"/>
                        </a:spcAft>
                      </a:pPr>
                      <a:r>
                        <a:rPr lang="en-US"/>
                        <a:t>Client Accoun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1 million per accoun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Client Asset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742038124"/>
                  </a:ext>
                </a:extLst>
              </a:tr>
              <a:tr h="525857">
                <a:tc vMerge="1">
                  <a:txBody>
                    <a:bodyPr/>
                    <a:lstStyle/>
                    <a:p>
                      <a:endParaRPr/>
                    </a:p>
                  </a:txBody>
                  <a:tcPr marT="91440" marB="91440"/>
                </a:tc>
                <a:tc vMerge="1">
                  <a:txBody>
                    <a:bodyPr/>
                    <a:lstStyle/>
                    <a:p>
                      <a:endParaRPr/>
                    </a:p>
                  </a:txBody>
                  <a:tcPr marT="91440" marB="91440">
                    <a:lnR w="12700" cap="flat" cmpd="sng" algn="ctr">
                      <a:solidFill>
                        <a:srgbClr val="6FC2B4"/>
                      </a:solidFill>
                      <a:prstDash val="solid"/>
                      <a:round/>
                      <a:headEnd type="none" w="med" len="med"/>
                      <a:tailEnd type="none" w="med" len="med"/>
                    </a:lnR>
                  </a:tcPr>
                </a:tc>
                <a:tc>
                  <a:txBody>
                    <a:bodyPr/>
                    <a:lstStyle/>
                    <a:p>
                      <a:pPr algn="ctr">
                        <a:spcBef>
                          <a:spcPts val="0"/>
                        </a:spcBef>
                        <a:spcAft>
                          <a:spcPts val="0"/>
                        </a:spcAft>
                      </a:pPr>
                      <a:r>
                        <a:rPr lang="en-US"/>
                        <a:t>Non-Segregated</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Net margin</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ACM Omnibus </a:t>
                      </a:r>
                    </a:p>
                    <a:p>
                      <a:pPr algn="ctr">
                        <a:spcBef>
                          <a:spcPts val="0"/>
                        </a:spcBef>
                        <a:spcAft>
                          <a:spcPts val="0"/>
                        </a:spcAft>
                      </a:pPr>
                      <a:r>
                        <a:rPr lang="en-US"/>
                        <a:t>Client Accoun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None</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Member Asset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033086955"/>
                  </a:ext>
                </a:extLst>
              </a:tr>
              <a:tr h="525857">
                <a:tc>
                  <a:txBody>
                    <a:bodyPr/>
                    <a:lstStyle/>
                    <a:p>
                      <a:pPr algn="ctr">
                        <a:spcBef>
                          <a:spcPts val="0"/>
                        </a:spcBef>
                        <a:spcAft>
                          <a:spcPts val="0"/>
                        </a:spcAft>
                      </a:pPr>
                      <a:r>
                        <a:rPr lang="en-US"/>
                        <a:t>Direc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Direct Member</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N/A</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Ne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House Account</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N/A</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p>
                      <a:pPr algn="ctr">
                        <a:spcBef>
                          <a:spcPts val="0"/>
                        </a:spcBef>
                        <a:spcAft>
                          <a:spcPts val="0"/>
                        </a:spcAft>
                      </a:pPr>
                      <a:r>
                        <a:rPr lang="en-US"/>
                        <a:t>Member Assets</a:t>
                      </a:r>
                    </a:p>
                  </a:txBody>
                  <a:tcPr marT="91440" marB="91440"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410229644"/>
                  </a:ext>
                </a:extLst>
              </a:tr>
            </a:tbl>
          </a:graphicData>
        </a:graphic>
      </p:graphicFrame>
      <p:sp>
        <p:nvSpPr>
          <p:cNvPr id="2" name="Text Placeholder 32">
            <a:extLst>
              <a:ext uri="{FF2B5EF4-FFF2-40B4-BE49-F238E27FC236}">
                <a16:creationId xmlns:a16="http://schemas.microsoft.com/office/drawing/2014/main" id="{7B97641D-D140-CE0F-EEF2-4EBDF180E5DA}"/>
              </a:ext>
            </a:extLst>
          </p:cNvPr>
          <p:cNvSpPr>
            <a:spLocks noGrp="1"/>
          </p:cNvSpPr>
          <p:nvPr>
            <p:ph type="body" sz="quarter" idx="13"/>
          </p:nvPr>
        </p:nvSpPr>
        <p:spPr>
          <a:xfrm>
            <a:off x="450000" y="684000"/>
            <a:ext cx="11304000" cy="757255"/>
          </a:xfrm>
        </p:spPr>
        <p:txBody>
          <a:bodyPr/>
          <a:lstStyle/>
          <a:p>
            <a:r>
              <a:rPr lang="en-US" sz="1600">
                <a:solidFill>
                  <a:srgbClr val="000000"/>
                </a:solidFill>
                <a:latin typeface="Calibri Light" panose="020F0302020204030204" pitchFamily="34" charset="0"/>
                <a:ea typeface="Calibri Light" panose="020F0302020204030204" pitchFamily="34" charset="0"/>
              </a:rPr>
              <a:t>Margin calculations may vary by access model and account setups. Members are responsible for the margin posting to FICC but whether they collect from clients to pass onto FICC or post themselves remains an operational and business decision.</a:t>
            </a:r>
          </a:p>
        </p:txBody>
      </p:sp>
      <p:sp>
        <p:nvSpPr>
          <p:cNvPr id="7" name="TextBox 6">
            <a:extLst>
              <a:ext uri="{FF2B5EF4-FFF2-40B4-BE49-F238E27FC236}">
                <a16:creationId xmlns:a16="http://schemas.microsoft.com/office/drawing/2014/main" id="{1CB4AE0C-C505-77ED-3960-DE237AE4D2EA}"/>
              </a:ext>
            </a:extLst>
          </p:cNvPr>
          <p:cNvSpPr txBox="1"/>
          <p:nvPr/>
        </p:nvSpPr>
        <p:spPr>
          <a:xfrm>
            <a:off x="398762" y="5371599"/>
            <a:ext cx="11474688" cy="938719"/>
          </a:xfrm>
          <a:prstGeom prst="rect">
            <a:avLst/>
          </a:prstGeom>
          <a:noFill/>
        </p:spPr>
        <p:txBody>
          <a:bodyPr wrap="square" lIns="0" tIns="0" rIns="0" bIns="0" rtlCol="0">
            <a:spAutoFit/>
          </a:bodyPr>
          <a:lstStyle/>
          <a:p>
            <a:pPr marL="285750" indent="-285750">
              <a:spcBef>
                <a:spcPts val="600"/>
              </a:spcBef>
              <a:buSzPct val="100000"/>
              <a:buFont typeface="Arial" panose="020B0604020202020204" pitchFamily="34" charset="0"/>
              <a:buChar char="•"/>
            </a:pPr>
            <a:r>
              <a:rPr lang="en-US" sz="1400" b="1">
                <a:solidFill>
                  <a:srgbClr val="313131"/>
                </a:solidFill>
              </a:rPr>
              <a:t>The final rule provides a time limited, no-action relief of 5 years for funds to post margin through their broker dealer to FICC. Industry consensus is that it is unlikely that funds will take advantage of this relief and post collateral to the FICC.</a:t>
            </a:r>
          </a:p>
          <a:p>
            <a:pPr marL="285750" indent="-285750">
              <a:spcBef>
                <a:spcPts val="600"/>
              </a:spcBef>
              <a:buSzPct val="100000"/>
              <a:buFont typeface="Arial" panose="020B0604020202020204" pitchFamily="34" charset="0"/>
              <a:buChar char="•"/>
            </a:pPr>
            <a:r>
              <a:rPr lang="en-US" sz="1400" b="1">
                <a:solidFill>
                  <a:srgbClr val="313131"/>
                </a:solidFill>
              </a:rPr>
              <a:t>Currently, the way the no-action relief is drafted is only applicable to FICC. To the extent a fund wants to post margin to ICE and CME, no action relief needs to be expanded to other clearing agencies.</a:t>
            </a:r>
          </a:p>
        </p:txBody>
      </p:sp>
    </p:spTree>
    <p:extLst>
      <p:ext uri="{BB962C8B-B14F-4D97-AF65-F5344CB8AC3E}">
        <p14:creationId xmlns:p14="http://schemas.microsoft.com/office/powerpoint/2010/main" val="257996729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64AEE-31E5-4746-8C9F-1CAFB3B3F28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CC079A-CE4C-C512-7709-994C501A68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4DCC079A-CE4C-C512-7709-994C501A68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5A630D1-613F-B638-9689-B53CD41C3E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541ADE24-6EE6-8EDC-788F-148A278D8ADF}"/>
              </a:ext>
            </a:extLst>
          </p:cNvPr>
          <p:cNvSpPr>
            <a:spLocks noGrp="1"/>
          </p:cNvSpPr>
          <p:nvPr>
            <p:ph type="title"/>
          </p:nvPr>
        </p:nvSpPr>
        <p:spPr>
          <a:xfrm>
            <a:off x="450000" y="345992"/>
            <a:ext cx="11304000" cy="342000"/>
          </a:xfrm>
        </p:spPr>
        <p:txBody>
          <a:bodyPr/>
          <a:lstStyle/>
          <a:p>
            <a:pPr>
              <a:spcBef>
                <a:spcPct val="0"/>
              </a:spcBef>
            </a:pPr>
            <a:r>
              <a:rPr lang="en-US" sz="2400" b="1"/>
              <a:t>Collateral in Lieu</a:t>
            </a:r>
          </a:p>
        </p:txBody>
      </p:sp>
      <p:sp>
        <p:nvSpPr>
          <p:cNvPr id="4" name="Rounded Rectangle 5">
            <a:extLst>
              <a:ext uri="{FF2B5EF4-FFF2-40B4-BE49-F238E27FC236}">
                <a16:creationId xmlns:a16="http://schemas.microsoft.com/office/drawing/2014/main" id="{915B2D6C-AA9E-2AC7-49C6-2F9108756527}"/>
              </a:ext>
            </a:extLst>
          </p:cNvPr>
          <p:cNvSpPr/>
          <p:nvPr/>
        </p:nvSpPr>
        <p:spPr bwMode="gray">
          <a:xfrm>
            <a:off x="487093" y="956586"/>
            <a:ext cx="11285809" cy="2423215"/>
          </a:xfrm>
          <a:prstGeom prst="roundRect">
            <a:avLst>
              <a:gd name="adj" fmla="val 0"/>
            </a:avLst>
          </a:prstGeom>
          <a:noFill/>
          <a:ln w="19050" cap="flat" cmpd="sng" algn="ctr">
            <a:solidFill>
              <a:schemeClr val="accent6"/>
            </a:solidFill>
            <a:prstDash val="solid"/>
          </a:ln>
          <a:effectLst/>
        </p:spPr>
        <p:txBody>
          <a:bodyPr lIns="726141" tIns="80683" rIns="161367" bIns="80683" rtlCol="0" anchor="t"/>
          <a:lstStyle/>
          <a:p>
            <a:pPr defTabSz="1219170"/>
            <a:endParaRPr lang="en-US" sz="2400">
              <a:solidFill>
                <a:prstClr val="black"/>
              </a:solidFill>
              <a:latin typeface="Open Sans"/>
            </a:endParaRPr>
          </a:p>
        </p:txBody>
      </p:sp>
      <p:sp>
        <p:nvSpPr>
          <p:cNvPr id="9" name="Text Placeholder 2">
            <a:extLst>
              <a:ext uri="{FF2B5EF4-FFF2-40B4-BE49-F238E27FC236}">
                <a16:creationId xmlns:a16="http://schemas.microsoft.com/office/drawing/2014/main" id="{62360467-5683-4464-885A-CA423BF082EB}"/>
              </a:ext>
            </a:extLst>
          </p:cNvPr>
          <p:cNvSpPr txBox="1">
            <a:spLocks/>
          </p:cNvSpPr>
          <p:nvPr/>
        </p:nvSpPr>
        <p:spPr>
          <a:xfrm>
            <a:off x="487091" y="1123002"/>
            <a:ext cx="11285808" cy="2222551"/>
          </a:xfrm>
        </p:spPr>
        <p:txBody>
          <a:bodyPr lIns="91440" tIns="45720" rIns="91440" bIns="45720" anchor="t"/>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46" indent="-171446">
              <a:spcBef>
                <a:spcPts val="300"/>
              </a:spcBef>
              <a:spcAft>
                <a:spcPts val="300"/>
              </a:spcAft>
              <a:buFont typeface="Arial" panose="020B0604020202020204" pitchFamily="34" charset="0"/>
              <a:buChar char="•"/>
              <a:defRPr/>
            </a:pPr>
            <a:r>
              <a:rPr lang="en-US" sz="1100">
                <a:solidFill>
                  <a:prstClr val="black"/>
                </a:solidFill>
                <a:latin typeface="Open Sans"/>
                <a:ea typeface="Open Sans"/>
                <a:cs typeface="Open Sans"/>
              </a:rPr>
              <a:t>The </a:t>
            </a:r>
            <a:r>
              <a:rPr lang="en-US" sz="1100">
                <a:solidFill>
                  <a:prstClr val="black"/>
                </a:solidFill>
                <a:ea typeface="Open Sans"/>
                <a:cs typeface="Open Sans"/>
              </a:rPr>
              <a:t>collateral-in-lieu model enables money market funds and repo lenders to provide FICC with a lien on collateral stored in tri-party custody accounts, removing the requirement for a sponsoring member to back their obligations. </a:t>
            </a:r>
          </a:p>
          <a:p>
            <a:pPr marL="171446" indent="-171446">
              <a:spcBef>
                <a:spcPts val="300"/>
              </a:spcBef>
              <a:spcAft>
                <a:spcPts val="300"/>
              </a:spcAft>
              <a:buFont typeface="Arial" panose="020B0604020202020204" pitchFamily="34" charset="0"/>
              <a:buChar char="•"/>
              <a:defRPr/>
            </a:pPr>
            <a:endParaRPr lang="en-US" sz="1100">
              <a:solidFill>
                <a:prstClr val="black"/>
              </a:solidFill>
              <a:ea typeface="Open Sans"/>
              <a:cs typeface="Open Sans"/>
            </a:endParaRPr>
          </a:p>
          <a:p>
            <a:pPr marL="171446" indent="-171446">
              <a:spcBef>
                <a:spcPts val="300"/>
              </a:spcBef>
              <a:spcAft>
                <a:spcPts val="300"/>
              </a:spcAft>
              <a:buFont typeface="Arial" panose="020B0604020202020204" pitchFamily="34" charset="0"/>
              <a:buChar char="•"/>
              <a:defRPr/>
            </a:pPr>
            <a:endParaRPr lang="en-US" sz="1100">
              <a:solidFill>
                <a:prstClr val="black"/>
              </a:solidFill>
              <a:ea typeface="Open Sans"/>
              <a:cs typeface="Open Sans"/>
            </a:endParaRPr>
          </a:p>
          <a:p>
            <a:pPr>
              <a:spcBef>
                <a:spcPts val="300"/>
              </a:spcBef>
              <a:spcAft>
                <a:spcPts val="300"/>
              </a:spcAft>
              <a:defRPr/>
            </a:pPr>
            <a:endParaRPr lang="en-US" sz="1100">
              <a:solidFill>
                <a:prstClr val="black"/>
              </a:solidFill>
              <a:ea typeface="Open Sans"/>
              <a:cs typeface="Open Sans"/>
            </a:endParaRPr>
          </a:p>
          <a:p>
            <a:pPr marL="171446" indent="-171446">
              <a:spcBef>
                <a:spcPts val="300"/>
              </a:spcBef>
              <a:spcAft>
                <a:spcPts val="300"/>
              </a:spcAft>
              <a:buFont typeface="Arial" panose="020B0604020202020204" pitchFamily="34" charset="0"/>
              <a:buChar char="•"/>
              <a:defRPr/>
            </a:pPr>
            <a:r>
              <a:rPr lang="en-US" sz="1100">
                <a:solidFill>
                  <a:prstClr val="black"/>
                </a:solidFill>
                <a:ea typeface="Open Sans"/>
                <a:cs typeface="Open Sans"/>
              </a:rPr>
              <a:t>The Collateral in Lieu service was proposed by FICC in September 2025 with plans to be up and running by December of 2025 </a:t>
            </a:r>
          </a:p>
          <a:p>
            <a:pPr marL="171446" indent="-171446">
              <a:spcBef>
                <a:spcPts val="300"/>
              </a:spcBef>
              <a:spcAft>
                <a:spcPts val="300"/>
              </a:spcAft>
              <a:buFont typeface="Arial" panose="020B0604020202020204" pitchFamily="34" charset="0"/>
              <a:buChar char="•"/>
              <a:defRPr/>
            </a:pPr>
            <a:r>
              <a:rPr lang="en-US" sz="1100">
                <a:solidFill>
                  <a:prstClr val="black"/>
                </a:solidFill>
                <a:ea typeface="Open Sans"/>
                <a:cs typeface="Open Sans"/>
              </a:rPr>
              <a:t>The SEC is yet to approve this model as industry comments regarding the proposal are still being submitted </a:t>
            </a:r>
          </a:p>
          <a:p>
            <a:pPr marL="171446" indent="-171446">
              <a:spcBef>
                <a:spcPts val="300"/>
              </a:spcBef>
              <a:spcAft>
                <a:spcPts val="300"/>
              </a:spcAft>
              <a:buFont typeface="Arial" panose="020B0604020202020204" pitchFamily="34" charset="0"/>
              <a:buChar char="•"/>
              <a:defRPr/>
            </a:pPr>
            <a:r>
              <a:rPr lang="en-US" sz="1100">
                <a:solidFill>
                  <a:prstClr val="black"/>
                </a:solidFill>
                <a:ea typeface="Open Sans"/>
                <a:cs typeface="Open Sans"/>
              </a:rPr>
              <a:t>The SEC has designated December 14, 2025 as the latest date to come to a decision</a:t>
            </a:r>
            <a:endParaRPr lang="en-US" sz="1100">
              <a:solidFill>
                <a:prstClr val="black"/>
              </a:solidFill>
              <a:ea typeface="Verdana"/>
              <a:cs typeface="Verdana" panose="020B0604030504040204" pitchFamily="34" charset="0"/>
            </a:endParaRPr>
          </a:p>
          <a:p>
            <a:pPr marL="171446" indent="-171446" algn="just">
              <a:spcBef>
                <a:spcPts val="300"/>
              </a:spcBef>
              <a:spcAft>
                <a:spcPts val="300"/>
              </a:spcAft>
              <a:buFont typeface="Arial" panose="020B0604020202020204" pitchFamily="34" charset="0"/>
              <a:buChar char="•"/>
              <a:defRPr/>
            </a:pPr>
            <a:endParaRPr lang="en-US" sz="1100">
              <a:solidFill>
                <a:prstClr val="black"/>
              </a:solidFill>
              <a:latin typeface="Open Sans"/>
              <a:ea typeface="Verdana"/>
              <a:cs typeface="Verdana" panose="020B0604030504040204" pitchFamily="34" charset="0"/>
            </a:endParaRPr>
          </a:p>
          <a:p>
            <a:pPr algn="just">
              <a:spcBef>
                <a:spcPts val="300"/>
              </a:spcBef>
              <a:spcAft>
                <a:spcPts val="300"/>
              </a:spcAft>
              <a:defRPr/>
            </a:pPr>
            <a:endParaRPr lang="en-US" sz="1100">
              <a:solidFill>
                <a:prstClr val="black"/>
              </a:solidFill>
              <a:latin typeface="Open Sans"/>
              <a:ea typeface="Verdana"/>
              <a:cs typeface="Verdana" panose="020B0604030504040204" pitchFamily="34" charset="0"/>
            </a:endParaRPr>
          </a:p>
          <a:p>
            <a:pPr marL="171446" indent="-171446" algn="just">
              <a:spcBef>
                <a:spcPts val="300"/>
              </a:spcBef>
              <a:spcAft>
                <a:spcPts val="300"/>
              </a:spcAft>
              <a:buFont typeface="Arial" panose="020B0604020202020204" pitchFamily="34" charset="0"/>
              <a:buChar char="•"/>
              <a:defRPr/>
            </a:pPr>
            <a:endParaRPr lang="en-US" sz="1100">
              <a:solidFill>
                <a:prstClr val="black"/>
              </a:solidFill>
              <a:latin typeface="Open Sans"/>
              <a:ea typeface="Verdana"/>
              <a:cs typeface="Verdana" panose="020B0604030504040204" pitchFamily="34" charset="0"/>
            </a:endParaRPr>
          </a:p>
          <a:p>
            <a:pPr marL="171446" indent="-171446" algn="just">
              <a:spcBef>
                <a:spcPts val="300"/>
              </a:spcBef>
              <a:spcAft>
                <a:spcPts val="300"/>
              </a:spcAft>
              <a:buFont typeface="Arial" panose="020B0604020202020204" pitchFamily="34" charset="0"/>
              <a:buChar char="•"/>
              <a:defRPr/>
            </a:pPr>
            <a:endParaRPr lang="en-US" sz="1100">
              <a:solidFill>
                <a:prstClr val="black"/>
              </a:solidFill>
              <a:latin typeface="Open Sans"/>
              <a:ea typeface="Verdana"/>
              <a:cs typeface="Verdana" panose="020B0604030504040204" pitchFamily="34" charset="0"/>
            </a:endParaRPr>
          </a:p>
        </p:txBody>
      </p:sp>
      <p:grpSp>
        <p:nvGrpSpPr>
          <p:cNvPr id="10" name="Group 9">
            <a:extLst>
              <a:ext uri="{FF2B5EF4-FFF2-40B4-BE49-F238E27FC236}">
                <a16:creationId xmlns:a16="http://schemas.microsoft.com/office/drawing/2014/main" id="{D2A40BA6-1D8C-AE3D-F17E-3A3F6CD901A1}"/>
              </a:ext>
            </a:extLst>
          </p:cNvPr>
          <p:cNvGrpSpPr/>
          <p:nvPr/>
        </p:nvGrpSpPr>
        <p:grpSpPr>
          <a:xfrm>
            <a:off x="4460508" y="612326"/>
            <a:ext cx="3270989" cy="521208"/>
            <a:chOff x="4083052" y="691534"/>
            <a:chExt cx="3270989" cy="521208"/>
          </a:xfrm>
        </p:grpSpPr>
        <p:sp>
          <p:nvSpPr>
            <p:cNvPr id="11" name="Rectangle: Rounded Corners 10">
              <a:extLst>
                <a:ext uri="{FF2B5EF4-FFF2-40B4-BE49-F238E27FC236}">
                  <a16:creationId xmlns:a16="http://schemas.microsoft.com/office/drawing/2014/main" id="{FA80AD20-B928-2ECF-4FBD-812DA9414638}"/>
                </a:ext>
              </a:extLst>
            </p:cNvPr>
            <p:cNvSpPr/>
            <p:nvPr/>
          </p:nvSpPr>
          <p:spPr bwMode="gray">
            <a:xfrm>
              <a:off x="4336521" y="828548"/>
              <a:ext cx="3017520" cy="274320"/>
            </a:xfrm>
            <a:prstGeom prst="roundRect">
              <a:avLst/>
            </a:prstGeom>
            <a:solidFill>
              <a:schemeClr val="accent6"/>
            </a:solidFill>
            <a:ln w="19050" algn="ctr">
              <a:noFill/>
              <a:miter lim="800000"/>
              <a:headEnd/>
              <a:tailEnd/>
            </a:ln>
          </p:spPr>
          <p:txBody>
            <a:bodyPr wrap="square" lIns="88900" tIns="88900" rIns="88900" bIns="88900" rtlCol="0" anchor="ctr"/>
            <a:lstStyle/>
            <a:p>
              <a:pPr algn="ctr" defTabSz="914377">
                <a:lnSpc>
                  <a:spcPct val="106000"/>
                </a:lnSpc>
                <a:defRPr/>
              </a:pPr>
              <a:r>
                <a:rPr lang="en-US" sz="1200" b="1" kern="0">
                  <a:solidFill>
                    <a:prstClr val="white"/>
                  </a:solidFill>
                  <a:latin typeface="Open Sans"/>
                  <a:ea typeface="Open Sans" panose="020B0606030504020204" pitchFamily="34" charset="0"/>
                  <a:cs typeface="Open Sans" panose="020B0606030504020204" pitchFamily="34" charset="0"/>
                </a:rPr>
                <a:t>Overview</a:t>
              </a:r>
            </a:p>
          </p:txBody>
        </p:sp>
        <p:grpSp>
          <p:nvGrpSpPr>
            <p:cNvPr id="12" name="Group 11">
              <a:extLst>
                <a:ext uri="{FF2B5EF4-FFF2-40B4-BE49-F238E27FC236}">
                  <a16:creationId xmlns:a16="http://schemas.microsoft.com/office/drawing/2014/main" id="{AD0D25A3-9D81-AFC2-999D-7F632CA650B3}"/>
                </a:ext>
              </a:extLst>
            </p:cNvPr>
            <p:cNvGrpSpPr/>
            <p:nvPr/>
          </p:nvGrpSpPr>
          <p:grpSpPr>
            <a:xfrm>
              <a:off x="4083052" y="691534"/>
              <a:ext cx="507945" cy="521208"/>
              <a:chOff x="4239311" y="736516"/>
              <a:chExt cx="507945" cy="521208"/>
            </a:xfrm>
          </p:grpSpPr>
          <p:sp>
            <p:nvSpPr>
              <p:cNvPr id="13" name="Oval 12">
                <a:extLst>
                  <a:ext uri="{FF2B5EF4-FFF2-40B4-BE49-F238E27FC236}">
                    <a16:creationId xmlns:a16="http://schemas.microsoft.com/office/drawing/2014/main" id="{C17E54D8-BCDB-C77B-D693-89C2423533D1}"/>
                  </a:ext>
                </a:extLst>
              </p:cNvPr>
              <p:cNvSpPr/>
              <p:nvPr/>
            </p:nvSpPr>
            <p:spPr bwMode="gray">
              <a:xfrm>
                <a:off x="4239311" y="736516"/>
                <a:ext cx="507945" cy="521208"/>
              </a:xfrm>
              <a:prstGeom prst="ellipse">
                <a:avLst/>
              </a:prstGeom>
              <a:solidFill>
                <a:schemeClr val="accent6"/>
              </a:solidFill>
              <a:ln w="19050" algn="ctr">
                <a:solidFill>
                  <a:sysClr val="window" lastClr="FFFFFF"/>
                </a:solidFill>
                <a:miter lim="800000"/>
                <a:headEnd/>
                <a:tailEnd/>
              </a:ln>
            </p:spPr>
            <p:txBody>
              <a:bodyPr wrap="square" lIns="88900" tIns="88900" rIns="88900" bIns="88900" rtlCol="0" anchor="ctr"/>
              <a:lstStyle/>
              <a:p>
                <a:pPr algn="ctr" defTabSz="914377">
                  <a:lnSpc>
                    <a:spcPct val="106000"/>
                  </a:lnSpc>
                  <a:defRPr/>
                </a:pPr>
                <a:endParaRPr lang="en-US" sz="1200" b="1" kern="0">
                  <a:solidFill>
                    <a:prstClr val="white"/>
                  </a:solidFill>
                  <a:latin typeface="Open Sans"/>
                  <a:ea typeface="Open Sans" panose="020B0606030504020204" pitchFamily="34" charset="0"/>
                  <a:cs typeface="Open Sans" panose="020B0606030504020204" pitchFamily="34" charset="0"/>
                </a:endParaRPr>
              </a:p>
            </p:txBody>
          </p:sp>
          <p:sp>
            <p:nvSpPr>
              <p:cNvPr id="15" name="Freeform 520">
                <a:extLst>
                  <a:ext uri="{FF2B5EF4-FFF2-40B4-BE49-F238E27FC236}">
                    <a16:creationId xmlns:a16="http://schemas.microsoft.com/office/drawing/2014/main" id="{BCEAF816-EB6E-98F3-F206-B276D108D11E}"/>
                  </a:ext>
                </a:extLst>
              </p:cNvPr>
              <p:cNvSpPr>
                <a:spLocks noEditPoints="1"/>
              </p:cNvSpPr>
              <p:nvPr/>
            </p:nvSpPr>
            <p:spPr bwMode="auto">
              <a:xfrm>
                <a:off x="4391787" y="899004"/>
                <a:ext cx="201986" cy="207838"/>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defTabSz="914377">
                  <a:defRPr/>
                </a:pPr>
                <a:endParaRPr lang="en-GB" sz="1200" kern="0">
                  <a:solidFill>
                    <a:prstClr val="black"/>
                  </a:solidFill>
                  <a:latin typeface="Open Sans"/>
                  <a:ea typeface="Open Sans" panose="020B0606030504020204" pitchFamily="34" charset="0"/>
                  <a:cs typeface="Open Sans" panose="020B0606030504020204" pitchFamily="34" charset="0"/>
                </a:endParaRPr>
              </a:p>
            </p:txBody>
          </p:sp>
          <p:sp>
            <p:nvSpPr>
              <p:cNvPr id="16" name="Freeform 311">
                <a:extLst>
                  <a:ext uri="{FF2B5EF4-FFF2-40B4-BE49-F238E27FC236}">
                    <a16:creationId xmlns:a16="http://schemas.microsoft.com/office/drawing/2014/main" id="{7C37DC3F-2FFF-E410-BC4A-3AF730ABC199}"/>
                  </a:ext>
                </a:extLst>
              </p:cNvPr>
              <p:cNvSpPr>
                <a:spLocks noEditPoints="1"/>
              </p:cNvSpPr>
              <p:nvPr/>
            </p:nvSpPr>
            <p:spPr bwMode="auto">
              <a:xfrm>
                <a:off x="4313667" y="808394"/>
                <a:ext cx="358227" cy="38329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defTabSz="914377">
                  <a:defRPr/>
                </a:pPr>
                <a:endParaRPr lang="en-GB" sz="1200" kern="0">
                  <a:solidFill>
                    <a:prstClr val="black"/>
                  </a:solidFill>
                  <a:latin typeface="Open Sans"/>
                  <a:ea typeface="Open Sans" panose="020B0606030504020204" pitchFamily="34" charset="0"/>
                  <a:cs typeface="Open Sans" panose="020B0606030504020204" pitchFamily="34" charset="0"/>
                </a:endParaRPr>
              </a:p>
            </p:txBody>
          </p:sp>
        </p:grpSp>
      </p:grpSp>
      <p:sp>
        <p:nvSpPr>
          <p:cNvPr id="17" name="Rounded Rectangle 5">
            <a:extLst>
              <a:ext uri="{FF2B5EF4-FFF2-40B4-BE49-F238E27FC236}">
                <a16:creationId xmlns:a16="http://schemas.microsoft.com/office/drawing/2014/main" id="{D0511AE9-497B-74D3-ECCD-69FE7A0808F4}"/>
              </a:ext>
            </a:extLst>
          </p:cNvPr>
          <p:cNvSpPr/>
          <p:nvPr/>
        </p:nvSpPr>
        <p:spPr bwMode="gray">
          <a:xfrm>
            <a:off x="487091" y="3726734"/>
            <a:ext cx="5389792" cy="2743200"/>
          </a:xfrm>
          <a:prstGeom prst="roundRect">
            <a:avLst>
              <a:gd name="adj" fmla="val 0"/>
            </a:avLst>
          </a:prstGeom>
          <a:noFill/>
          <a:ln w="19050" cap="flat" cmpd="sng" algn="ctr">
            <a:solidFill>
              <a:schemeClr val="accent6">
                <a:lumMod val="75000"/>
              </a:schemeClr>
            </a:solidFill>
            <a:prstDash val="solid"/>
          </a:ln>
          <a:effectLst/>
        </p:spPr>
        <p:txBody>
          <a:bodyPr lIns="726141" tIns="80683" rIns="161367" bIns="80683" rtlCol="0" anchor="t"/>
          <a:lstStyle/>
          <a:p>
            <a:pPr defTabSz="1219170"/>
            <a:endParaRPr lang="en-US" sz="2400">
              <a:solidFill>
                <a:prstClr val="black"/>
              </a:solidFill>
              <a:latin typeface="Open Sans"/>
            </a:endParaRPr>
          </a:p>
        </p:txBody>
      </p:sp>
      <p:grpSp>
        <p:nvGrpSpPr>
          <p:cNvPr id="19" name="Group 18">
            <a:extLst>
              <a:ext uri="{FF2B5EF4-FFF2-40B4-BE49-F238E27FC236}">
                <a16:creationId xmlns:a16="http://schemas.microsoft.com/office/drawing/2014/main" id="{9196F2B5-4A0B-681B-F64F-397038F16865}"/>
              </a:ext>
            </a:extLst>
          </p:cNvPr>
          <p:cNvGrpSpPr/>
          <p:nvPr/>
        </p:nvGrpSpPr>
        <p:grpSpPr>
          <a:xfrm>
            <a:off x="1274116" y="3430394"/>
            <a:ext cx="3721949" cy="521208"/>
            <a:chOff x="1014272" y="3935422"/>
            <a:chExt cx="3721949" cy="521208"/>
          </a:xfrm>
        </p:grpSpPr>
        <p:sp>
          <p:nvSpPr>
            <p:cNvPr id="20" name="Rectangle: Rounded Corners 19">
              <a:extLst>
                <a:ext uri="{FF2B5EF4-FFF2-40B4-BE49-F238E27FC236}">
                  <a16:creationId xmlns:a16="http://schemas.microsoft.com/office/drawing/2014/main" id="{A978FDD4-3F9D-1756-E5AA-0F63DECE073F}"/>
                </a:ext>
              </a:extLst>
            </p:cNvPr>
            <p:cNvSpPr/>
            <p:nvPr/>
          </p:nvSpPr>
          <p:spPr bwMode="gray">
            <a:xfrm>
              <a:off x="1444381" y="4065766"/>
              <a:ext cx="3291840" cy="274320"/>
            </a:xfrm>
            <a:prstGeom prst="roundRect">
              <a:avLst/>
            </a:prstGeom>
            <a:solidFill>
              <a:schemeClr val="accent6">
                <a:lumMod val="75000"/>
              </a:schemeClr>
            </a:solidFill>
            <a:ln w="19050" algn="ctr">
              <a:noFill/>
              <a:miter lim="800000"/>
              <a:headEnd/>
              <a:tailEnd/>
            </a:ln>
          </p:spPr>
          <p:txBody>
            <a:bodyPr wrap="square" lIns="88900" tIns="88900" rIns="88900" bIns="88900" rtlCol="0" anchor="ctr"/>
            <a:lstStyle/>
            <a:p>
              <a:pPr algn="ctr" defTabSz="914377">
                <a:lnSpc>
                  <a:spcPct val="106000"/>
                </a:lnSpc>
                <a:defRPr/>
              </a:pPr>
              <a:r>
                <a:rPr lang="en-US" sz="1200" b="1" kern="0">
                  <a:solidFill>
                    <a:prstClr val="white"/>
                  </a:solidFill>
                  <a:latin typeface="Open Sans"/>
                  <a:ea typeface="Open Sans"/>
                  <a:cs typeface="Open Sans"/>
                </a:rPr>
                <a:t>Key Benefits</a:t>
              </a:r>
            </a:p>
          </p:txBody>
        </p:sp>
        <p:grpSp>
          <p:nvGrpSpPr>
            <p:cNvPr id="21" name="Group 20">
              <a:extLst>
                <a:ext uri="{FF2B5EF4-FFF2-40B4-BE49-F238E27FC236}">
                  <a16:creationId xmlns:a16="http://schemas.microsoft.com/office/drawing/2014/main" id="{2FE58796-9721-AA3A-A5AE-3E55BD54042E}"/>
                </a:ext>
              </a:extLst>
            </p:cNvPr>
            <p:cNvGrpSpPr/>
            <p:nvPr/>
          </p:nvGrpSpPr>
          <p:grpSpPr>
            <a:xfrm>
              <a:off x="1014272" y="3935422"/>
              <a:ext cx="521208" cy="521208"/>
              <a:chOff x="484297" y="3925811"/>
              <a:chExt cx="521208" cy="521208"/>
            </a:xfrm>
          </p:grpSpPr>
          <p:sp>
            <p:nvSpPr>
              <p:cNvPr id="22" name="Oval 21">
                <a:extLst>
                  <a:ext uri="{FF2B5EF4-FFF2-40B4-BE49-F238E27FC236}">
                    <a16:creationId xmlns:a16="http://schemas.microsoft.com/office/drawing/2014/main" id="{4A6B064A-CF8B-BA2A-FEA4-FB599AA6900F}"/>
                  </a:ext>
                </a:extLst>
              </p:cNvPr>
              <p:cNvSpPr/>
              <p:nvPr/>
            </p:nvSpPr>
            <p:spPr bwMode="gray">
              <a:xfrm>
                <a:off x="484297" y="3925811"/>
                <a:ext cx="521208" cy="521208"/>
              </a:xfrm>
              <a:prstGeom prst="ellipse">
                <a:avLst/>
              </a:prstGeom>
              <a:solidFill>
                <a:schemeClr val="accent6">
                  <a:lumMod val="75000"/>
                </a:schemeClr>
              </a:solidFill>
              <a:ln w="19050" algn="ctr">
                <a:solidFill>
                  <a:sysClr val="window" lastClr="FFFFFF"/>
                </a:solidFill>
                <a:miter lim="800000"/>
                <a:headEnd/>
                <a:tailEnd/>
              </a:ln>
            </p:spPr>
            <p:txBody>
              <a:bodyPr wrap="square" lIns="88900" tIns="88900" rIns="88900" bIns="88900" rtlCol="0" anchor="ctr"/>
              <a:lstStyle/>
              <a:p>
                <a:pPr algn="ctr" defTabSz="914377">
                  <a:lnSpc>
                    <a:spcPct val="106000"/>
                  </a:lnSpc>
                  <a:defRPr/>
                </a:pPr>
                <a:endParaRPr lang="en-US" sz="1200" b="1" kern="0">
                  <a:solidFill>
                    <a:prstClr val="white"/>
                  </a:solidFill>
                  <a:latin typeface="Open Sans"/>
                  <a:ea typeface="Open Sans" panose="020B0606030504020204" pitchFamily="34" charset="0"/>
                  <a:cs typeface="Open Sans" panose="020B0606030504020204" pitchFamily="34" charset="0"/>
                </a:endParaRPr>
              </a:p>
            </p:txBody>
          </p:sp>
          <p:sp>
            <p:nvSpPr>
              <p:cNvPr id="23" name="Freeform 521">
                <a:extLst>
                  <a:ext uri="{FF2B5EF4-FFF2-40B4-BE49-F238E27FC236}">
                    <a16:creationId xmlns:a16="http://schemas.microsoft.com/office/drawing/2014/main" id="{53CEB078-A41C-4215-6EF6-39A9EA0B2A68}"/>
                  </a:ext>
                </a:extLst>
              </p:cNvPr>
              <p:cNvSpPr>
                <a:spLocks noEditPoints="1"/>
              </p:cNvSpPr>
              <p:nvPr/>
            </p:nvSpPr>
            <p:spPr bwMode="auto">
              <a:xfrm>
                <a:off x="558283" y="3988887"/>
                <a:ext cx="373235" cy="38404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defTabSz="914377">
                  <a:defRPr/>
                </a:pPr>
                <a:endParaRPr lang="en-GB" sz="1200" kern="0">
                  <a:solidFill>
                    <a:prstClr val="black"/>
                  </a:solidFill>
                  <a:latin typeface="Open Sans"/>
                  <a:ea typeface="Open Sans" panose="020B0606030504020204" pitchFamily="34" charset="0"/>
                  <a:cs typeface="Open Sans" panose="020B0606030504020204" pitchFamily="34" charset="0"/>
                </a:endParaRPr>
              </a:p>
            </p:txBody>
          </p:sp>
          <p:pic>
            <p:nvPicPr>
              <p:cNvPr id="25" name="Graphic 24" descr="Gears with solid fill">
                <a:extLst>
                  <a:ext uri="{FF2B5EF4-FFF2-40B4-BE49-F238E27FC236}">
                    <a16:creationId xmlns:a16="http://schemas.microsoft.com/office/drawing/2014/main" id="{8ACEAD6F-86EF-220B-F88D-8D49B624D9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3815" y="4035291"/>
                <a:ext cx="291240" cy="291240"/>
              </a:xfrm>
              <a:prstGeom prst="rect">
                <a:avLst/>
              </a:prstGeom>
            </p:spPr>
          </p:pic>
        </p:grpSp>
      </p:grpSp>
      <p:sp>
        <p:nvSpPr>
          <p:cNvPr id="28" name="Text Placeholder 2">
            <a:extLst>
              <a:ext uri="{FF2B5EF4-FFF2-40B4-BE49-F238E27FC236}">
                <a16:creationId xmlns:a16="http://schemas.microsoft.com/office/drawing/2014/main" id="{DC561D4C-003C-2B4E-4347-84A18123C96D}"/>
              </a:ext>
            </a:extLst>
          </p:cNvPr>
          <p:cNvSpPr txBox="1">
            <a:spLocks/>
          </p:cNvSpPr>
          <p:nvPr/>
        </p:nvSpPr>
        <p:spPr>
          <a:xfrm>
            <a:off x="487091" y="3930252"/>
            <a:ext cx="5389792" cy="2334815"/>
          </a:xfrm>
        </p:spPr>
        <p:txBody>
          <a:bodyPr lIns="91440" tIns="45720" rIns="91440" bIns="45720" anchor="t"/>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ts val="300"/>
              </a:spcBef>
              <a:spcAft>
                <a:spcPts val="300"/>
              </a:spcAft>
              <a:defRPr/>
            </a:pPr>
            <a:r>
              <a:rPr lang="en-US" sz="1100" b="1">
                <a:solidFill>
                  <a:prstClr val="black"/>
                </a:solidFill>
                <a:ea typeface="Verdana"/>
                <a:cs typeface="Verdana" panose="020B0604030504040204" pitchFamily="34" charset="0"/>
              </a:rPr>
              <a:t>Improved Liquidity &amp; Capital Efficiency: </a:t>
            </a:r>
            <a:r>
              <a:rPr lang="en-US" sz="1100">
                <a:solidFill>
                  <a:prstClr val="black"/>
                </a:solidFill>
                <a:ea typeface="Verdana"/>
                <a:cs typeface="Verdana" panose="020B0604030504040204" pitchFamily="34" charset="0"/>
              </a:rPr>
              <a:t>Enables funds and managers to optimize use of cash and securities, reducing the need for large cash margins and freeing balance sheet resources for investments or redemptions</a:t>
            </a:r>
          </a:p>
          <a:p>
            <a:pPr>
              <a:spcBef>
                <a:spcPts val="300"/>
              </a:spcBef>
              <a:spcAft>
                <a:spcPts val="300"/>
              </a:spcAft>
              <a:defRPr/>
            </a:pPr>
            <a:r>
              <a:rPr lang="en-US" sz="1100" b="1">
                <a:solidFill>
                  <a:prstClr val="black"/>
                </a:solidFill>
                <a:ea typeface="Verdana"/>
                <a:cs typeface="Verdana" panose="020B0604030504040204" pitchFamily="34" charset="0"/>
              </a:rPr>
              <a:t>Elimination of Double-Margining: </a:t>
            </a:r>
            <a:r>
              <a:rPr lang="en-US" sz="1100">
                <a:solidFill>
                  <a:prstClr val="black"/>
                </a:solidFill>
                <a:ea typeface="Verdana"/>
                <a:cs typeface="Verdana" panose="020B0604030504040204" pitchFamily="34" charset="0"/>
              </a:rPr>
              <a:t>CIL’s CCP lien structure eliminates the inefficiency of double-margining seen in traditional repo, reducing over-collateralization and direct sponsor margin requirements.</a:t>
            </a:r>
          </a:p>
          <a:p>
            <a:pPr>
              <a:spcBef>
                <a:spcPts val="300"/>
              </a:spcBef>
              <a:spcAft>
                <a:spcPts val="300"/>
              </a:spcAft>
              <a:defRPr/>
            </a:pPr>
            <a:r>
              <a:rPr lang="en-US" sz="1100" b="1">
                <a:solidFill>
                  <a:prstClr val="black"/>
                </a:solidFill>
                <a:ea typeface="Verdana"/>
                <a:cs typeface="Verdana" panose="020B0604030504040204" pitchFamily="34" charset="0"/>
              </a:rPr>
              <a:t>Broader Access to Central Clearing</a:t>
            </a:r>
            <a:r>
              <a:rPr lang="en-US" sz="1100">
                <a:solidFill>
                  <a:prstClr val="black"/>
                </a:solidFill>
                <a:ea typeface="Verdana"/>
                <a:cs typeface="Verdana" panose="020B0604030504040204" pitchFamily="34" charset="0"/>
              </a:rPr>
              <a:t>: Buy-side participants—including funds and asset managers can participate directly in FICC-sponsored clearing, enhancing transparency, market stability, and ease of meeting regulatory requirements</a:t>
            </a:r>
          </a:p>
          <a:p>
            <a:pPr>
              <a:spcBef>
                <a:spcPts val="300"/>
              </a:spcBef>
              <a:spcAft>
                <a:spcPts val="300"/>
              </a:spcAft>
              <a:defRPr/>
            </a:pPr>
            <a:r>
              <a:rPr lang="en-US" sz="1100" b="1">
                <a:solidFill>
                  <a:prstClr val="black"/>
                </a:solidFill>
                <a:ea typeface="Verdana"/>
                <a:cs typeface="Verdana" panose="020B0604030504040204" pitchFamily="34" charset="0"/>
              </a:rPr>
              <a:t>Streamlined Collateral Operations</a:t>
            </a:r>
            <a:r>
              <a:rPr lang="en-US" sz="1100">
                <a:solidFill>
                  <a:prstClr val="black"/>
                </a:solidFill>
                <a:ea typeface="Verdana"/>
                <a:cs typeface="Verdana" panose="020B0604030504040204" pitchFamily="34" charset="0"/>
              </a:rPr>
              <a:t>: Leverages tri-party infrastructure and CCP liens for real-time collateral management, easier substitution of securities, and smoother settlement processes, minimizing operational friction</a:t>
            </a:r>
          </a:p>
        </p:txBody>
      </p:sp>
      <p:sp>
        <p:nvSpPr>
          <p:cNvPr id="29" name="Rounded Rectangle 5">
            <a:extLst>
              <a:ext uri="{FF2B5EF4-FFF2-40B4-BE49-F238E27FC236}">
                <a16:creationId xmlns:a16="http://schemas.microsoft.com/office/drawing/2014/main" id="{4E3277DA-0DD9-912A-E50B-3C17E3441B50}"/>
              </a:ext>
            </a:extLst>
          </p:cNvPr>
          <p:cNvSpPr/>
          <p:nvPr/>
        </p:nvSpPr>
        <p:spPr bwMode="gray">
          <a:xfrm>
            <a:off x="6003441" y="3726732"/>
            <a:ext cx="5769460" cy="2743200"/>
          </a:xfrm>
          <a:prstGeom prst="roundRect">
            <a:avLst>
              <a:gd name="adj" fmla="val 0"/>
            </a:avLst>
          </a:prstGeom>
          <a:noFill/>
          <a:ln w="19050" cap="flat" cmpd="sng" algn="ctr">
            <a:solidFill>
              <a:schemeClr val="accent6">
                <a:lumMod val="50000"/>
              </a:schemeClr>
            </a:solidFill>
            <a:prstDash val="solid"/>
          </a:ln>
          <a:effectLst/>
        </p:spPr>
        <p:txBody>
          <a:bodyPr lIns="726141" tIns="80683" rIns="161367" bIns="80683" rtlCol="0" anchor="t"/>
          <a:lstStyle/>
          <a:p>
            <a:pPr defTabSz="1219170"/>
            <a:endParaRPr lang="en-US" sz="2400">
              <a:solidFill>
                <a:prstClr val="black"/>
              </a:solidFill>
              <a:latin typeface="Open Sans"/>
            </a:endParaRPr>
          </a:p>
        </p:txBody>
      </p:sp>
      <p:grpSp>
        <p:nvGrpSpPr>
          <p:cNvPr id="30" name="Group 29">
            <a:extLst>
              <a:ext uri="{FF2B5EF4-FFF2-40B4-BE49-F238E27FC236}">
                <a16:creationId xmlns:a16="http://schemas.microsoft.com/office/drawing/2014/main" id="{89DAACF5-C196-AFA0-CA38-E757E70BC1FB}"/>
              </a:ext>
            </a:extLst>
          </p:cNvPr>
          <p:cNvGrpSpPr/>
          <p:nvPr/>
        </p:nvGrpSpPr>
        <p:grpSpPr>
          <a:xfrm>
            <a:off x="7043467" y="3437294"/>
            <a:ext cx="3800432" cy="521208"/>
            <a:chOff x="7084268" y="3891540"/>
            <a:chExt cx="3800432" cy="521208"/>
          </a:xfrm>
        </p:grpSpPr>
        <p:grpSp>
          <p:nvGrpSpPr>
            <p:cNvPr id="31" name="Group 30">
              <a:extLst>
                <a:ext uri="{FF2B5EF4-FFF2-40B4-BE49-F238E27FC236}">
                  <a16:creationId xmlns:a16="http://schemas.microsoft.com/office/drawing/2014/main" id="{65CD26DC-FF9C-D8A0-7DC7-A682294947DC}"/>
                </a:ext>
              </a:extLst>
            </p:cNvPr>
            <p:cNvGrpSpPr/>
            <p:nvPr/>
          </p:nvGrpSpPr>
          <p:grpSpPr>
            <a:xfrm>
              <a:off x="7084268" y="3891540"/>
              <a:ext cx="3800432" cy="521208"/>
              <a:chOff x="5819782" y="4675069"/>
              <a:chExt cx="3800432" cy="521208"/>
            </a:xfrm>
          </p:grpSpPr>
          <p:sp>
            <p:nvSpPr>
              <p:cNvPr id="33" name="Rectangle: Rounded Corners 32">
                <a:extLst>
                  <a:ext uri="{FF2B5EF4-FFF2-40B4-BE49-F238E27FC236}">
                    <a16:creationId xmlns:a16="http://schemas.microsoft.com/office/drawing/2014/main" id="{FE1A0CD6-136D-511E-CC16-BF4B63D298AC}"/>
                  </a:ext>
                </a:extLst>
              </p:cNvPr>
              <p:cNvSpPr/>
              <p:nvPr/>
            </p:nvSpPr>
            <p:spPr bwMode="gray">
              <a:xfrm>
                <a:off x="6236934" y="4800600"/>
                <a:ext cx="3383280" cy="274320"/>
              </a:xfrm>
              <a:prstGeom prst="roundRect">
                <a:avLst/>
              </a:prstGeom>
              <a:solidFill>
                <a:schemeClr val="accent6">
                  <a:lumMod val="50000"/>
                </a:schemeClr>
              </a:solidFill>
              <a:ln w="19050" algn="ctr">
                <a:noFill/>
                <a:miter lim="800000"/>
                <a:headEnd/>
                <a:tailEnd/>
              </a:ln>
            </p:spPr>
            <p:txBody>
              <a:bodyPr wrap="square" lIns="88900" tIns="88900" rIns="88900" bIns="88900" rtlCol="0" anchor="ctr"/>
              <a:lstStyle/>
              <a:p>
                <a:pPr algn="ctr" defTabSz="914377">
                  <a:lnSpc>
                    <a:spcPct val="106000"/>
                  </a:lnSpc>
                  <a:defRPr/>
                </a:pPr>
                <a:r>
                  <a:rPr lang="en-US" sz="1200" b="1" kern="0">
                    <a:solidFill>
                      <a:prstClr val="white"/>
                    </a:solidFill>
                    <a:latin typeface="Open Sans"/>
                    <a:ea typeface="Open Sans"/>
                    <a:cs typeface="Open Sans"/>
                  </a:rPr>
                  <a:t>Resources</a:t>
                </a:r>
              </a:p>
            </p:txBody>
          </p:sp>
          <p:grpSp>
            <p:nvGrpSpPr>
              <p:cNvPr id="34" name="Group 33">
                <a:extLst>
                  <a:ext uri="{FF2B5EF4-FFF2-40B4-BE49-F238E27FC236}">
                    <a16:creationId xmlns:a16="http://schemas.microsoft.com/office/drawing/2014/main" id="{BE7A25AE-7B35-1BDF-EA16-A7C85FCF933F}"/>
                  </a:ext>
                </a:extLst>
              </p:cNvPr>
              <p:cNvGrpSpPr/>
              <p:nvPr/>
            </p:nvGrpSpPr>
            <p:grpSpPr>
              <a:xfrm>
                <a:off x="5819782" y="4675069"/>
                <a:ext cx="518770" cy="521208"/>
                <a:chOff x="8571452" y="5014946"/>
                <a:chExt cx="521208" cy="521208"/>
              </a:xfrm>
            </p:grpSpPr>
            <p:sp>
              <p:nvSpPr>
                <p:cNvPr id="35" name="Oval 34">
                  <a:extLst>
                    <a:ext uri="{FF2B5EF4-FFF2-40B4-BE49-F238E27FC236}">
                      <a16:creationId xmlns:a16="http://schemas.microsoft.com/office/drawing/2014/main" id="{E7A5CBA9-C5CF-EDA8-50A6-12B56228B7C7}"/>
                    </a:ext>
                  </a:extLst>
                </p:cNvPr>
                <p:cNvSpPr/>
                <p:nvPr/>
              </p:nvSpPr>
              <p:spPr bwMode="gray">
                <a:xfrm>
                  <a:off x="8571452" y="5014946"/>
                  <a:ext cx="521208" cy="521208"/>
                </a:xfrm>
                <a:prstGeom prst="ellipse">
                  <a:avLst/>
                </a:prstGeom>
                <a:solidFill>
                  <a:schemeClr val="accent6">
                    <a:lumMod val="50000"/>
                  </a:schemeClr>
                </a:solidFill>
                <a:ln w="19050" algn="ctr">
                  <a:solidFill>
                    <a:sysClr val="window" lastClr="FFFFFF"/>
                  </a:solidFill>
                  <a:miter lim="800000"/>
                  <a:headEnd/>
                  <a:tailEnd/>
                </a:ln>
              </p:spPr>
              <p:txBody>
                <a:bodyPr wrap="square" lIns="88900" tIns="88900" rIns="88900" bIns="88900" rtlCol="0" anchor="ctr"/>
                <a:lstStyle/>
                <a:p>
                  <a:pPr algn="ctr" defTabSz="914377">
                    <a:lnSpc>
                      <a:spcPct val="106000"/>
                    </a:lnSpc>
                    <a:defRPr/>
                  </a:pPr>
                  <a:endParaRPr lang="en-US" sz="1200" b="1" kern="0">
                    <a:solidFill>
                      <a:prstClr val="white"/>
                    </a:solidFill>
                    <a:latin typeface="Open Sans"/>
                    <a:ea typeface="Open Sans" panose="020B0606030504020204" pitchFamily="34" charset="0"/>
                    <a:cs typeface="Open Sans" panose="020B0606030504020204" pitchFamily="34" charset="0"/>
                  </a:endParaRPr>
                </a:p>
              </p:txBody>
            </p:sp>
            <p:sp>
              <p:nvSpPr>
                <p:cNvPr id="36" name="Freeform 382">
                  <a:extLst>
                    <a:ext uri="{FF2B5EF4-FFF2-40B4-BE49-F238E27FC236}">
                      <a16:creationId xmlns:a16="http://schemas.microsoft.com/office/drawing/2014/main" id="{6D09386F-CF51-51A1-88DD-D4A6A17ED6B2}"/>
                    </a:ext>
                  </a:extLst>
                </p:cNvPr>
                <p:cNvSpPr>
                  <a:spLocks noEditPoints="1"/>
                </p:cNvSpPr>
                <p:nvPr/>
              </p:nvSpPr>
              <p:spPr bwMode="auto">
                <a:xfrm>
                  <a:off x="8644582" y="5081485"/>
                  <a:ext cx="374903" cy="38404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defTabSz="914377">
                    <a:defRPr/>
                  </a:pPr>
                  <a:endParaRPr lang="en-GB" sz="1200" kern="0">
                    <a:solidFill>
                      <a:prstClr val="black"/>
                    </a:solidFill>
                    <a:latin typeface="Open Sans"/>
                    <a:ea typeface="Open Sans" panose="020B0606030504020204" pitchFamily="34" charset="0"/>
                    <a:cs typeface="Open Sans" panose="020B0606030504020204" pitchFamily="34" charset="0"/>
                  </a:endParaRPr>
                </a:p>
              </p:txBody>
            </p:sp>
          </p:grpSp>
        </p:grpSp>
        <p:pic>
          <p:nvPicPr>
            <p:cNvPr id="32" name="Graphic 31" descr="Abacus with solid fill">
              <a:extLst>
                <a:ext uri="{FF2B5EF4-FFF2-40B4-BE49-F238E27FC236}">
                  <a16:creationId xmlns:a16="http://schemas.microsoft.com/office/drawing/2014/main" id="{DE9A89C1-9A2E-E63D-C0A2-FD6A4BC26A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06351" y="4014984"/>
              <a:ext cx="274558" cy="274558"/>
            </a:xfrm>
            <a:prstGeom prst="rect">
              <a:avLst/>
            </a:prstGeom>
          </p:spPr>
        </p:pic>
      </p:grpSp>
      <p:graphicFrame>
        <p:nvGraphicFramePr>
          <p:cNvPr id="37" name="Table 36">
            <a:extLst>
              <a:ext uri="{FF2B5EF4-FFF2-40B4-BE49-F238E27FC236}">
                <a16:creationId xmlns:a16="http://schemas.microsoft.com/office/drawing/2014/main" id="{A4EDC946-CC77-76CC-3932-D0FF8AF636E1}"/>
              </a:ext>
            </a:extLst>
          </p:cNvPr>
          <p:cNvGraphicFramePr>
            <a:graphicFrameLocks noGrp="1"/>
          </p:cNvGraphicFramePr>
          <p:nvPr>
            <p:extLst>
              <p:ext uri="{D42A27DB-BD31-4B8C-83A1-F6EECF244321}">
                <p14:modId xmlns:p14="http://schemas.microsoft.com/office/powerpoint/2010/main" val="3907728677"/>
              </p:ext>
            </p:extLst>
          </p:nvPr>
        </p:nvGraphicFramePr>
        <p:xfrm>
          <a:off x="727685" y="1587474"/>
          <a:ext cx="10907232" cy="670560"/>
        </p:xfrm>
        <a:graphic>
          <a:graphicData uri="http://schemas.openxmlformats.org/drawingml/2006/table">
            <a:tbl>
              <a:tblPr firstRow="1" bandRow="1"/>
              <a:tblGrid>
                <a:gridCol w="5453616">
                  <a:extLst>
                    <a:ext uri="{9D8B030D-6E8A-4147-A177-3AD203B41FA5}">
                      <a16:colId xmlns:a16="http://schemas.microsoft.com/office/drawing/2014/main" val="2888505806"/>
                    </a:ext>
                  </a:extLst>
                </a:gridCol>
                <a:gridCol w="5453616">
                  <a:extLst>
                    <a:ext uri="{9D8B030D-6E8A-4147-A177-3AD203B41FA5}">
                      <a16:colId xmlns:a16="http://schemas.microsoft.com/office/drawing/2014/main" val="715590184"/>
                    </a:ext>
                  </a:extLst>
                </a:gridCol>
              </a:tblGrid>
              <a:tr h="479034">
                <a:tc>
                  <a:txBody>
                    <a:bodyPr/>
                    <a:lstStyle>
                      <a:lvl1pPr marL="0" algn="l" defTabSz="685800" rtl="0" eaLnBrk="1" latinLnBrk="0" hangingPunct="1">
                        <a:defRPr sz="1350" b="1" kern="1200">
                          <a:solidFill>
                            <a:schemeClr val="lt1"/>
                          </a:solidFill>
                          <a:latin typeface="Open Sans"/>
                        </a:defRPr>
                      </a:lvl1pPr>
                      <a:lvl2pPr marL="277246" algn="l" defTabSz="685800" rtl="0" eaLnBrk="1" latinLnBrk="0" hangingPunct="1">
                        <a:defRPr sz="1350" b="1" kern="1200">
                          <a:solidFill>
                            <a:schemeClr val="lt1"/>
                          </a:solidFill>
                          <a:latin typeface="Open Sans"/>
                        </a:defRPr>
                      </a:lvl2pPr>
                      <a:lvl3pPr marL="554492" algn="l" defTabSz="685800" rtl="0" eaLnBrk="1" latinLnBrk="0" hangingPunct="1">
                        <a:defRPr sz="1350" b="1" kern="1200">
                          <a:solidFill>
                            <a:schemeClr val="lt1"/>
                          </a:solidFill>
                          <a:latin typeface="Open Sans"/>
                        </a:defRPr>
                      </a:lvl3pPr>
                      <a:lvl4pPr marL="831738" algn="l" defTabSz="685800" rtl="0" eaLnBrk="1" latinLnBrk="0" hangingPunct="1">
                        <a:defRPr sz="1350" b="1" kern="1200">
                          <a:solidFill>
                            <a:schemeClr val="lt1"/>
                          </a:solidFill>
                          <a:latin typeface="Open Sans"/>
                        </a:defRPr>
                      </a:lvl4pPr>
                      <a:lvl5pPr marL="1108984" algn="l" defTabSz="685800" rtl="0" eaLnBrk="1" latinLnBrk="0" hangingPunct="1">
                        <a:defRPr sz="1350" b="1" kern="1200">
                          <a:solidFill>
                            <a:schemeClr val="lt1"/>
                          </a:solidFill>
                          <a:latin typeface="Open Sans"/>
                        </a:defRPr>
                      </a:lvl5pPr>
                      <a:lvl6pPr marL="1386230" algn="l" defTabSz="685800" rtl="0" eaLnBrk="1" latinLnBrk="0" hangingPunct="1">
                        <a:defRPr sz="1350" b="1" kern="1200">
                          <a:solidFill>
                            <a:schemeClr val="lt1"/>
                          </a:solidFill>
                          <a:latin typeface="Open Sans"/>
                        </a:defRPr>
                      </a:lvl6pPr>
                      <a:lvl7pPr marL="1663476" algn="l" defTabSz="685800" rtl="0" eaLnBrk="1" latinLnBrk="0" hangingPunct="1">
                        <a:defRPr sz="1350" b="1" kern="1200">
                          <a:solidFill>
                            <a:schemeClr val="lt1"/>
                          </a:solidFill>
                          <a:latin typeface="Open Sans"/>
                        </a:defRPr>
                      </a:lvl7pPr>
                      <a:lvl8pPr marL="1940723" algn="l" defTabSz="685800" rtl="0" eaLnBrk="1" latinLnBrk="0" hangingPunct="1">
                        <a:defRPr sz="1350" b="1" kern="1200">
                          <a:solidFill>
                            <a:schemeClr val="lt1"/>
                          </a:solidFill>
                          <a:latin typeface="Open Sans"/>
                        </a:defRPr>
                      </a:lvl8pPr>
                      <a:lvl9pPr marL="2217969" algn="l" defTabSz="685800" rtl="0" eaLnBrk="1" latinLnBrk="0" hangingPunct="1">
                        <a:defRPr sz="1350" b="1" kern="1200">
                          <a:solidFill>
                            <a:schemeClr val="lt1"/>
                          </a:solidFill>
                          <a:latin typeface="Open Sans"/>
                        </a:defRPr>
                      </a:lvl9pPr>
                    </a:lstStyle>
                    <a:p>
                      <a:pPr marL="171450" indent="-171450">
                        <a:spcAft>
                          <a:spcPts val="600"/>
                        </a:spcAft>
                        <a:buFont typeface="Arial" panose="020B0604020202020204" pitchFamily="34" charset="0"/>
                        <a:buChar char="•"/>
                      </a:pPr>
                      <a:r>
                        <a:rPr lang="en-US" sz="1100" b="0">
                          <a:solidFill>
                            <a:schemeClr val="tx1"/>
                          </a:solidFill>
                          <a:latin typeface="+mn-lt"/>
                        </a:rPr>
                        <a:t>This service would be offered by FICC, using BNY’s triparty infrastructure to support the collateral management and settlement of the repo trades</a:t>
                      </a:r>
                    </a:p>
                    <a:p>
                      <a:pPr marL="171450" indent="-171450">
                        <a:buFont typeface="Arial" panose="020B0604020202020204" pitchFamily="34" charset="0"/>
                        <a:buChar char="•"/>
                      </a:pPr>
                      <a:r>
                        <a:rPr lang="en-US" sz="1100" b="0">
                          <a:solidFill>
                            <a:schemeClr val="tx1"/>
                          </a:solidFill>
                          <a:latin typeface="+mn-lt"/>
                        </a:rPr>
                        <a:t>Supports both done-away and done-with styles of trade execution</a:t>
                      </a:r>
                    </a:p>
                  </a:txBody>
                  <a:tcPr>
                    <a:lnL w="12700" cap="flat" cmpd="sng" algn="ctr">
                      <a:noFill/>
                      <a:prstDash val="sysDot"/>
                      <a:round/>
                      <a:headEnd type="none" w="med" len="med"/>
                      <a:tailEnd type="none" w="med" len="med"/>
                    </a:lnL>
                    <a:lnR w="12700" cap="flat" cmpd="sng" algn="ctr">
                      <a:solidFill>
                        <a:sysClr val="windowText" lastClr="000000"/>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007CB0">
                        <a:alpha val="18039"/>
                      </a:srgbClr>
                    </a:solidFill>
                  </a:tcPr>
                </a:tc>
                <a:tc>
                  <a:txBody>
                    <a:bodyPr/>
                    <a:lstStyle>
                      <a:lvl1pPr marL="0" algn="l" defTabSz="685800" rtl="0" eaLnBrk="1" latinLnBrk="0" hangingPunct="1">
                        <a:defRPr sz="1350" b="1" kern="1200">
                          <a:solidFill>
                            <a:schemeClr val="lt1"/>
                          </a:solidFill>
                          <a:latin typeface="Open Sans"/>
                        </a:defRPr>
                      </a:lvl1pPr>
                      <a:lvl2pPr marL="277246" algn="l" defTabSz="685800" rtl="0" eaLnBrk="1" latinLnBrk="0" hangingPunct="1">
                        <a:defRPr sz="1350" b="1" kern="1200">
                          <a:solidFill>
                            <a:schemeClr val="lt1"/>
                          </a:solidFill>
                          <a:latin typeface="Open Sans"/>
                        </a:defRPr>
                      </a:lvl2pPr>
                      <a:lvl3pPr marL="554492" algn="l" defTabSz="685800" rtl="0" eaLnBrk="1" latinLnBrk="0" hangingPunct="1">
                        <a:defRPr sz="1350" b="1" kern="1200">
                          <a:solidFill>
                            <a:schemeClr val="lt1"/>
                          </a:solidFill>
                          <a:latin typeface="Open Sans"/>
                        </a:defRPr>
                      </a:lvl3pPr>
                      <a:lvl4pPr marL="831738" algn="l" defTabSz="685800" rtl="0" eaLnBrk="1" latinLnBrk="0" hangingPunct="1">
                        <a:defRPr sz="1350" b="1" kern="1200">
                          <a:solidFill>
                            <a:schemeClr val="lt1"/>
                          </a:solidFill>
                          <a:latin typeface="Open Sans"/>
                        </a:defRPr>
                      </a:lvl4pPr>
                      <a:lvl5pPr marL="1108984" algn="l" defTabSz="685800" rtl="0" eaLnBrk="1" latinLnBrk="0" hangingPunct="1">
                        <a:defRPr sz="1350" b="1" kern="1200">
                          <a:solidFill>
                            <a:schemeClr val="lt1"/>
                          </a:solidFill>
                          <a:latin typeface="Open Sans"/>
                        </a:defRPr>
                      </a:lvl5pPr>
                      <a:lvl6pPr marL="1386230" algn="l" defTabSz="685800" rtl="0" eaLnBrk="1" latinLnBrk="0" hangingPunct="1">
                        <a:defRPr sz="1350" b="1" kern="1200">
                          <a:solidFill>
                            <a:schemeClr val="lt1"/>
                          </a:solidFill>
                          <a:latin typeface="Open Sans"/>
                        </a:defRPr>
                      </a:lvl6pPr>
                      <a:lvl7pPr marL="1663476" algn="l" defTabSz="685800" rtl="0" eaLnBrk="1" latinLnBrk="0" hangingPunct="1">
                        <a:defRPr sz="1350" b="1" kern="1200">
                          <a:solidFill>
                            <a:schemeClr val="lt1"/>
                          </a:solidFill>
                          <a:latin typeface="Open Sans"/>
                        </a:defRPr>
                      </a:lvl7pPr>
                      <a:lvl8pPr marL="1940723" algn="l" defTabSz="685800" rtl="0" eaLnBrk="1" latinLnBrk="0" hangingPunct="1">
                        <a:defRPr sz="1350" b="1" kern="1200">
                          <a:solidFill>
                            <a:schemeClr val="lt1"/>
                          </a:solidFill>
                          <a:latin typeface="Open Sans"/>
                        </a:defRPr>
                      </a:lvl8pPr>
                      <a:lvl9pPr marL="2217969" algn="l" defTabSz="685800" rtl="0" eaLnBrk="1" latinLnBrk="0" hangingPunct="1">
                        <a:defRPr sz="1350" b="1" kern="1200">
                          <a:solidFill>
                            <a:schemeClr val="lt1"/>
                          </a:solidFill>
                          <a:latin typeface="Open Sans"/>
                        </a:defRPr>
                      </a:lvl9pPr>
                    </a:lstStyle>
                    <a:p>
                      <a:pPr marL="171450"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b="0">
                          <a:solidFill>
                            <a:schemeClr val="tx1"/>
                          </a:solidFill>
                          <a:latin typeface="+mn-lt"/>
                        </a:rPr>
                        <a:t>Instead of requiring both a “Sponsor guaranty” and extra margin, CIL allows the use of existing collateral (the “haircut” margin already posted in tri-party repo deals) via a legal lien, eliminating the need for extra margin in most cases</a:t>
                      </a:r>
                    </a:p>
                  </a:txBody>
                  <a:tcPr>
                    <a:lnL w="12700" cap="flat" cmpd="sng" algn="ctr">
                      <a:solidFill>
                        <a:sysClr val="windowText" lastClr="000000"/>
                      </a:solid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007CB0">
                        <a:alpha val="18039"/>
                      </a:srgbClr>
                    </a:solidFill>
                  </a:tcPr>
                </a:tc>
                <a:extLst>
                  <a:ext uri="{0D108BD9-81ED-4DB2-BD59-A6C34878D82A}">
                    <a16:rowId xmlns:a16="http://schemas.microsoft.com/office/drawing/2014/main" val="771057973"/>
                  </a:ext>
                </a:extLst>
              </a:tr>
            </a:tbl>
          </a:graphicData>
        </a:graphic>
      </p:graphicFrame>
      <p:sp>
        <p:nvSpPr>
          <p:cNvPr id="43" name="Text Placeholder 2">
            <a:extLst>
              <a:ext uri="{FF2B5EF4-FFF2-40B4-BE49-F238E27FC236}">
                <a16:creationId xmlns:a16="http://schemas.microsoft.com/office/drawing/2014/main" id="{C578965F-D6EA-2DED-9826-43587947EF7D}"/>
              </a:ext>
            </a:extLst>
          </p:cNvPr>
          <p:cNvSpPr txBox="1">
            <a:spLocks/>
          </p:cNvSpPr>
          <p:nvPr/>
        </p:nvSpPr>
        <p:spPr>
          <a:xfrm>
            <a:off x="6129995" y="3940040"/>
            <a:ext cx="5389792" cy="2334815"/>
          </a:xfrm>
        </p:spPr>
        <p:txBody>
          <a:bodyPr lIns="91440" tIns="45720" rIns="91440" bIns="45720" anchor="t"/>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ts val="300"/>
              </a:spcBef>
              <a:spcAft>
                <a:spcPts val="300"/>
              </a:spcAft>
              <a:defRPr/>
            </a:pPr>
            <a:endParaRPr lang="en-US" sz="1100">
              <a:latin typeface="Open Sans"/>
            </a:endParaRPr>
          </a:p>
        </p:txBody>
      </p:sp>
      <p:sp>
        <p:nvSpPr>
          <p:cNvPr id="3" name="Text Placeholder 2">
            <a:extLst>
              <a:ext uri="{FF2B5EF4-FFF2-40B4-BE49-F238E27FC236}">
                <a16:creationId xmlns:a16="http://schemas.microsoft.com/office/drawing/2014/main" id="{1708778B-4B31-8C21-6339-9550B4883B13}"/>
              </a:ext>
            </a:extLst>
          </p:cNvPr>
          <p:cNvSpPr txBox="1">
            <a:spLocks/>
          </p:cNvSpPr>
          <p:nvPr/>
        </p:nvSpPr>
        <p:spPr>
          <a:xfrm>
            <a:off x="6129994" y="3990776"/>
            <a:ext cx="5389793" cy="2334815"/>
          </a:xfrm>
        </p:spPr>
        <p:txBody>
          <a:bodyPr lIns="91440" tIns="45720" rIns="91440" bIns="45720" anchor="t"/>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ts val="300"/>
              </a:spcBef>
              <a:spcAft>
                <a:spcPts val="300"/>
              </a:spcAft>
              <a:defRPr/>
            </a:pPr>
            <a:r>
              <a:rPr lang="en-US" sz="1100" b="1">
                <a:solidFill>
                  <a:prstClr val="black"/>
                </a:solidFill>
                <a:ea typeface="Verdana"/>
                <a:cs typeface="Verdana" panose="020B0604030504040204" pitchFamily="34" charset="0"/>
              </a:rPr>
              <a:t>FICC SRO Rulemaking at the SEC </a:t>
            </a:r>
            <a:r>
              <a:rPr lang="en-US" sz="1100">
                <a:solidFill>
                  <a:prstClr val="black"/>
                </a:solidFill>
                <a:ea typeface="Verdana"/>
                <a:cs typeface="Verdana" panose="020B0604030504040204" pitchFamily="34" charset="0"/>
              </a:rPr>
              <a:t>- read the proposed rule changes and comment letters</a:t>
            </a:r>
          </a:p>
          <a:p>
            <a:pPr>
              <a:spcBef>
                <a:spcPts val="300"/>
              </a:spcBef>
              <a:spcAft>
                <a:spcPts val="300"/>
              </a:spcAft>
              <a:defRPr/>
            </a:pPr>
            <a:r>
              <a:rPr lang="en-US" sz="1100">
                <a:solidFill>
                  <a:prstClr val="black"/>
                </a:solidFill>
                <a:ea typeface="Verdana"/>
                <a:cs typeface="Verdana" panose="020B0604030504040204" pitchFamily="34" charset="0"/>
                <a:hlinkClick r:id="rId11"/>
              </a:rPr>
              <a:t>https://www.sec.gov/rules-regulations/self-regulatory-organization-rulemaking/ficc?field_display_title_value=&amp;release_number=&amp;file_number=ficc-2025-019&amp;year=All&amp;month=All</a:t>
            </a:r>
            <a:endParaRPr lang="en-US" sz="1100">
              <a:solidFill>
                <a:prstClr val="black"/>
              </a:solidFill>
              <a:ea typeface="Verdana"/>
              <a:cs typeface="Verdana" panose="020B0604030504040204" pitchFamily="34" charset="0"/>
            </a:endParaRPr>
          </a:p>
        </p:txBody>
      </p:sp>
    </p:spTree>
    <p:extLst>
      <p:ext uri="{BB962C8B-B14F-4D97-AF65-F5344CB8AC3E}">
        <p14:creationId xmlns:p14="http://schemas.microsoft.com/office/powerpoint/2010/main" val="86460159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zT0qYHJT7WJNtc37eec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zT0qYHJT7WJNtc37eec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72E16FB-A05E-4974-8233-A86C2F45FF1D}">
  <we:reference id="97ff72f7-3dc5-4f2f-8c24-51759c83085f" version="1.0.0.1"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419EB28955654DB27AE775BA863C70" ma:contentTypeVersion="6" ma:contentTypeDescription="Create a new document." ma:contentTypeScope="" ma:versionID="8437ecace93f25764e9bc6914c51b768">
  <xsd:schema xmlns:xsd="http://www.w3.org/2001/XMLSchema" xmlns:xs="http://www.w3.org/2001/XMLSchema" xmlns:p="http://schemas.microsoft.com/office/2006/metadata/properties" xmlns:ns2="3bbc9d4a-37f7-4728-a302-db21e000f21f" xmlns:ns3="28bfded8-a04c-4bfe-bf6e-55a8a55360c8" targetNamespace="http://schemas.microsoft.com/office/2006/metadata/properties" ma:root="true" ma:fieldsID="c495ce6573e54104cf47227cac1671d1" ns2:_="" ns3:_="">
    <xsd:import namespace="3bbc9d4a-37f7-4728-a302-db21e000f21f"/>
    <xsd:import namespace="28bfded8-a04c-4bfe-bf6e-55a8a55360c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bc9d4a-37f7-4728-a302-db21e000f2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8bfded8-a04c-4bfe-bf6e-55a8a55360c8"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28bfded8-a04c-4bfe-bf6e-55a8a55360c8">
      <UserInfo>
        <DisplayName>Towler, Jalin</DisplayName>
        <AccountId>52</AccountId>
        <AccountType/>
      </UserInfo>
      <UserInfo>
        <DisplayName>Miles, Jackson</DisplayName>
        <AccountId>12</AccountId>
        <AccountType/>
      </UserInfo>
      <UserInfo>
        <DisplayName>Tarasiuk, Tommy</DisplayName>
        <AccountId>43</AccountId>
        <AccountType/>
      </UserInfo>
      <UserInfo>
        <DisplayName>Emery, Payton</DisplayName>
        <AccountId>77</AccountId>
        <AccountType/>
      </UserInfo>
      <UserInfo>
        <DisplayName>Bassolino, Sebastian</DisplayName>
        <AccountId>18</AccountId>
        <AccountType/>
      </UserInfo>
      <UserInfo>
        <DisplayName>Koudelka, Matt</DisplayName>
        <AccountId>36</AccountId>
        <AccountType/>
      </UserInfo>
      <UserInfo>
        <DisplayName>Bourn, Henry</DisplayName>
        <AccountId>14</AccountId>
        <AccountType/>
      </UserInfo>
      <UserInfo>
        <DisplayName>Tsusaki, Alexander</DisplayName>
        <AccountId>29</AccountId>
        <AccountType/>
      </UserInfo>
      <UserInfo>
        <DisplayName>Black, George</DisplayName>
        <AccountId>24</AccountId>
        <AccountType/>
      </UserInfo>
      <UserInfo>
        <DisplayName>Gauger, Mara</DisplayName>
        <AccountId>39</AccountId>
        <AccountType/>
      </UserInfo>
      <UserInfo>
        <DisplayName>Brown, Peter</DisplayName>
        <AccountId>41</AccountId>
        <AccountType/>
      </UserInfo>
      <UserInfo>
        <DisplayName>Shrivastava, Supriya</DisplayName>
        <AccountId>25</AccountId>
        <AccountType/>
      </UserInfo>
      <UserInfo>
        <DisplayName>Burke, CJ</DisplayName>
        <AccountId>80</AccountId>
        <AccountType/>
      </UserInfo>
      <UserInfo>
        <DisplayName>Guagliardi, Michael</DisplayName>
        <AccountId>81</AccountId>
        <AccountType/>
      </UserInfo>
      <UserInfo>
        <DisplayName>Beverly, Aaron</DisplayName>
        <AccountId>82</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A8C76FB-0224-4E8E-A75D-3F9BDBFE212D}">
  <ds:schemaRefs>
    <ds:schemaRef ds:uri="28bfded8-a04c-4bfe-bf6e-55a8a55360c8"/>
    <ds:schemaRef ds:uri="3bbc9d4a-37f7-4728-a302-db21e000f2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EEE0193-3346-4FA1-A6C3-2BE7C7DE3BC4}">
  <ds:schemaRefs>
    <ds:schemaRef ds:uri="28bfded8-a04c-4bfe-bf6e-55a8a55360c8"/>
    <ds:schemaRef ds:uri="3bbc9d4a-37f7-4728-a302-db21e000f21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41B0BFA-154F-4FE6-8C46-2B0CF6A6ECED}">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Application>Microsoft Office PowerPoint</Application>
  <PresentationFormat>Widescreen</PresentationFormat>
  <Slides>10</Slides>
  <Notes>8</Notes>
  <HiddenSlides>0</HiddenSlide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Deloitte Brand Theme</vt:lpstr>
      <vt:lpstr>Navigating the U.S. Treasury Clearing Mandate: FICC Access Models &amp; Margin Analysis</vt:lpstr>
      <vt:lpstr>Overview </vt:lpstr>
      <vt:lpstr>Tracking Industry Open Questions: SEC FAQ List</vt:lpstr>
      <vt:lpstr>Tracking Industry Open Questions: Additional Threads</vt:lpstr>
      <vt:lpstr>Done with vs. Done Away Trading</vt:lpstr>
      <vt:lpstr>Sponsored vs. ACS Model Comparison </vt:lpstr>
      <vt:lpstr>General Considerations For Determining which Clearing model to use</vt:lpstr>
      <vt:lpstr>FICC Margin Considerations by Access Model</vt:lpstr>
      <vt:lpstr>Collateral in Lieu</vt:lpstr>
      <vt:lpstr>Next Se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revision>1</cp:revision>
  <dcterms:created xsi:type="dcterms:W3CDTF">2023-09-27T08:28:31Z</dcterms:created>
  <dcterms:modified xsi:type="dcterms:W3CDTF">2025-10-24T20:3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11419EB28955654DB27AE775BA863C70</vt:lpwstr>
  </property>
</Properties>
</file>